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709" r:id="rId5"/>
  </p:sldMasterIdLst>
  <p:notesMasterIdLst>
    <p:notesMasterId r:id="rId13"/>
  </p:notesMasterIdLst>
  <p:handoutMasterIdLst>
    <p:handoutMasterId r:id="rId14"/>
  </p:handoutMasterIdLst>
  <p:sldIdLst>
    <p:sldId id="680" r:id="rId6"/>
    <p:sldId id="684" r:id="rId7"/>
    <p:sldId id="690" r:id="rId8"/>
    <p:sldId id="689" r:id="rId9"/>
    <p:sldId id="686" r:id="rId10"/>
    <p:sldId id="687" r:id="rId11"/>
    <p:sldId id="688" r:id="rId12"/>
  </p:sldIdLst>
  <p:sldSz cx="9144000" cy="6858000" type="screen4x3"/>
  <p:notesSz cx="7023100" cy="9309100"/>
  <p:embeddedFontLst>
    <p:embeddedFont>
      <p:font typeface="Arial Black" panose="020B0604020202020204" pitchFamily="34" charset="0"/>
      <p:bold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Verdana" panose="020B06040305040402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32">
          <p15:clr>
            <a:srgbClr val="A4A3A4"/>
          </p15:clr>
        </p15:guide>
        <p15:guide id="4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ousa, Diogo" initials="LD" lastIdx="4" clrIdx="6">
    <p:extLst/>
  </p:cmAuthor>
  <p:cmAuthor id="1" name="Shellie Crandall" initials="SC" lastIdx="17" clrIdx="0">
    <p:extLst/>
  </p:cmAuthor>
  <p:cmAuthor id="8" name="Schutzman, Ben" initials="SB" lastIdx="5" clrIdx="7">
    <p:extLst/>
  </p:cmAuthor>
  <p:cmAuthor id="2" name="neasley" initials="ne" lastIdx="17" clrIdx="1"/>
  <p:cmAuthor id="3" name="Frio, Melissa" initials="FM" lastIdx="1" clrIdx="2">
    <p:extLst/>
  </p:cmAuthor>
  <p:cmAuthor id="4" name="James Paci" initials="JP" lastIdx="28" clrIdx="3">
    <p:extLst/>
  </p:cmAuthor>
  <p:cmAuthor id="5" name="Troy McHenry" initials="TM" lastIdx="26" clrIdx="4">
    <p:extLst/>
  </p:cmAuthor>
  <p:cmAuthor id="6" name="Ben Schutzman" initials="BS" lastIdx="18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4145"/>
    <a:srgbClr val="27717A"/>
    <a:srgbClr val="35359B"/>
    <a:srgbClr val="00269E"/>
    <a:srgbClr val="70B8FF"/>
    <a:srgbClr val="FFD13F"/>
    <a:srgbClr val="92D050"/>
    <a:srgbClr val="D9D9D9"/>
    <a:srgbClr val="EFF6FF"/>
    <a:srgbClr val="1B1B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83" autoAdjust="0"/>
    <p:restoredTop sz="87997" autoAdjust="0"/>
  </p:normalViewPr>
  <p:slideViewPr>
    <p:cSldViewPr>
      <p:cViewPr varScale="1">
        <p:scale>
          <a:sx n="103" d="100"/>
          <a:sy n="103" d="100"/>
        </p:scale>
        <p:origin x="1920" y="1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61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3110" y="-91"/>
      </p:cViewPr>
      <p:guideLst>
        <p:guide orient="horz" pos="2928"/>
        <p:guide pos="2160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7.fntdata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font" Target="fonts/font3.fntdata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6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2240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6" y="0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81" tIns="47539" rIns="95081" bIns="4753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7"/>
            <a:ext cx="5618480" cy="4189095"/>
          </a:xfrm>
          <a:prstGeom prst="rect">
            <a:avLst/>
          </a:prstGeom>
        </p:spPr>
        <p:txBody>
          <a:bodyPr vert="horz" lIns="95081" tIns="47539" rIns="95081" bIns="4753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3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6" y="8842033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80316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54330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Daily On-Site Mobilization Presence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itial mobilization meeting held same week of award; Transdev team onsite daily since May 7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for observation and learning </a:t>
            </a:r>
          </a:p>
          <a:p>
            <a:pPr marL="354330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Regular Debrief Sessions: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Transdev has sat down with MBTA and Accenture to understand history of TRAC and prior issues to learn from past</a:t>
            </a:r>
          </a:p>
          <a:p>
            <a:pPr marL="354330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Employee Engagement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ll existing employees given opportunity to join Transdev and invited to Open House to meet existing Transdev employees. </a:t>
            </a:r>
            <a:r>
              <a:rPr lang="en-US" sz="12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3 out of XX existing TRAC employees onboarded; all key positions filled by new hires or interim Transdev staff</a:t>
            </a:r>
          </a:p>
          <a:p>
            <a:pPr marL="354330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taffing Level Monitoring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eekly monitoring of employee retention and employee recruitment; current employee headcount is stable and adequate for transition.  250+ additional applicants beyond current employees provides a strong pipeline. </a:t>
            </a:r>
          </a:p>
          <a:p>
            <a:pPr marL="354330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takeholder Engagement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ransdev met with RIDE Taskforce and made site visits to current Service Providers (NEXT and GLSS). Meeting this week with VTS.  </a:t>
            </a:r>
          </a:p>
          <a:p>
            <a:pPr marL="354330" indent="-28575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Ongoing Enhancement: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ransdev has begun to update training, improve SOPs, and address ongoing concerns from other stakeholders.  All employees will undergo a full retraining and evaluation over the next two month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8028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4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362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292663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3859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7207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932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4/18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54233581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4" y="6283325"/>
            <a:ext cx="261302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1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8119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9122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92" r:id="rId4"/>
    <p:sldLayoutId id="2147483694" r:id="rId5"/>
    <p:sldLayoutId id="2147483695" r:id="rId6"/>
    <p:sldLayoutId id="2147483716" r:id="rId7"/>
    <p:sldLayoutId id="2147483717" r:id="rId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18551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.xml"/><Relationship Id="rId7" Type="http://schemas.openxmlformats.org/officeDocument/2006/relationships/image" Target="../media/image3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6.emf"/><Relationship Id="rId4" Type="http://schemas.openxmlformats.org/officeDocument/2006/relationships/tags" Target="../tags/tag5.xml"/><Relationship Id="rId9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image" Target="../media/image7.emf"/><Relationship Id="rId7" Type="http://schemas.openxmlformats.org/officeDocument/2006/relationships/image" Target="../media/image1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10" Type="http://schemas.openxmlformats.org/officeDocument/2006/relationships/image" Target="../media/image14.emf"/><Relationship Id="rId4" Type="http://schemas.openxmlformats.org/officeDocument/2006/relationships/image" Target="../media/image8.emf"/><Relationship Id="rId9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962400"/>
            <a:ext cx="7924800" cy="466344"/>
          </a:xfrm>
        </p:spPr>
        <p:txBody>
          <a:bodyPr/>
          <a:lstStyle/>
          <a:p>
            <a:r>
              <a:rPr lang="en-US" dirty="0"/>
              <a:t>The RIDE Up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5800" y="5105400"/>
            <a:ext cx="3352800" cy="762000"/>
          </a:xfrm>
        </p:spPr>
        <p:txBody>
          <a:bodyPr/>
          <a:lstStyle/>
          <a:p>
            <a:r>
              <a:rPr lang="en-US" dirty="0"/>
              <a:t>June 4th, 2018</a:t>
            </a:r>
          </a:p>
        </p:txBody>
      </p:sp>
    </p:spTree>
    <p:extLst>
      <p:ext uri="{BB962C8B-B14F-4D97-AF65-F5344CB8AC3E}">
        <p14:creationId xmlns:p14="http://schemas.microsoft.com/office/powerpoint/2010/main" val="111468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531" y="914400"/>
            <a:ext cx="8314470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is presentation will cover:</a:t>
            </a:r>
          </a:p>
          <a:p>
            <a:pPr marL="811530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n overview of The RIDE’s recent service improvements across its key metrics</a:t>
            </a:r>
          </a:p>
          <a:p>
            <a:pPr marL="811530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n update on the TRAC transition with Transdev </a:t>
            </a:r>
            <a:endParaRPr lang="en-US" sz="16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11530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A summary of recent pilot growth statistics and a go-forward plan for Pilot 2.0</a:t>
            </a:r>
          </a:p>
          <a:p>
            <a:pPr marL="6858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o board action is required at this time.</a:t>
            </a:r>
          </a:p>
        </p:txBody>
      </p:sp>
    </p:spTree>
    <p:extLst>
      <p:ext uri="{BB962C8B-B14F-4D97-AF65-F5344CB8AC3E}">
        <p14:creationId xmlns:p14="http://schemas.microsoft.com/office/powerpoint/2010/main" val="806200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6B0EC-478A-475B-A5B7-CB13E6300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DE PERFORMANCE </a:t>
            </a:r>
            <a:br>
              <a:rPr lang="en-US" dirty="0"/>
            </a:br>
            <a:r>
              <a:rPr lang="en-US" dirty="0"/>
              <a:t>Service has continued to remain strong through the transition period</a:t>
            </a:r>
          </a:p>
        </p:txBody>
      </p:sp>
      <p:sp>
        <p:nvSpPr>
          <p:cNvPr id="8" name="Rectangle 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a/oXf5nEOUIpDbBiyeHXG3i5BAQdDCvJ+HYQ6g04TLMcbm87/GhrKCPsQL5d1QZiPJ+WZ4K55PH7chTD8NtEK0tOiL0uUveGHIUT9VBeTqgSHz6GnwXO6EnPV5cjSt+Bnt+62hsMZHNj4ZihXRcgriS87Aj7BSziIqdj/AQqBWT+E37AQz+/58mLB5ycOpSiEaUwTg7PSjxE7MLmlvlYScMGh9fbvUdw6LeTt2m/nJI9pVD3egRu7LJdsYz+aK2gheVu6YtIFXQd83qm+keKPdCEYaZmfqKfzxhDHlZxF0AACKIJrNPt9ESxLchT2opZw8Z9leAp5AAukSKZtmVNI+j29u150vdQiPWvZDFjkbvyPEg83/aJre2pRMcMg+QxMjhF+4OR8QRh4sIG+nhWFA8HRipIChqVS5b3FCH4TW+6igphQkdXG3lC9ccaHAlc7JX9q1boMFwGZd1JFjsF+xgNpTWoE3zSEr84/uprxkYHzk2TiGW+AZbqCNcjPLNTr7DkzZbHzuEVYmQKWH4JAzfGHASyu+KWxaBz3rEcvwIfeuqlVS+QzNNh+SLfL+xTcvIt66KkXdPBxs4C9SewCUkvcRRJMh58v7eLsHVU74DEtx6cbvFxhz1THAweG19dYLmzsBPFaCTwCdCaWbFX9XCI8zrG+7WyLB0vEA7xCR17b3HNDBkUPiziw2UYjmCUcoSJxZp8A+JTUYNCkUz+9qo2oAXCJYmbUl1h+ARiLaJ/tEbylxhFxLXt4POJ/9Rvz2khV+8bC1OpSoBMsqE1dj1VyL6cQv2Hp2EOZm7CZhmbJRzbPrq49oO/yJxQsa8FgN2KNGqmOS3VuwKkblk9+i+V7yJ6Ty/pEH+e6eBMjCj6n/P+tx8DiUY4htE1JPh7Gn9xniWfPWz4FjsKZ3gG0uXjmR6OLDt1zy1aVf84wH0gz8cLwG2IijZDkdB3iuiL2RHM7deBNnJFSmhq0kayD8632jorAntTUX61J/N/vJ9jMzRrNhA6iaOUdGvjGGQDhE5VuXK+XjYkHPUDyakvq3OPDW9Jgc7hfW0+Kvp3eI8fZ73cb7f6VVOMuxkAjfHs+4w9oqYTPAXOZgj0lncugMX39H5YYI5d0s1vNsEKSVSincG9scU8r6iaKYyN3BLLWt2csAfaxgn+pmDlCdc2kzCz7Z8JPspX3Z2+ozFXnDAlThXH7cna5nBDAIYwnrgUjtsnBmF8qTqEgQHmz8I45i8FFWoXsTSgYv/d8Yl4maOtqWQ/9CWHzcqEFFXExSK1uin1CRFogKc2H9uZOdLpugVYyNiGDeLXHgFTZu0sVd0bHccS67lhF5yOyHAtATjFztseJOAQiLQDMZLGR0qn8+2JEZLT/M07WdjmM6Jj9QzAVKKNxGXz+82WJc+cEG3MX6BK/IHMXopvel8UNA5u0mhLyNyC0X4gvvjWjwTEfs7r28mXjzCi1nU0E1K8JjwdLN6Qr5mQRSDqsTYF1UZf0xgyrkD5pTO1iASLZgP7ivYMqLnv3CV1CAxli+IffDFdoEe7aVP6J8i+dsGtJXQvtoW73tX7jC611sWli2Qnh/chkJt9QhenT4xB5x7OdAzT9WMo+TzlGuYb2BN9U5JZM3/UqnD7Kh5hB01pSGMqRo9RLL+eUIgA1SL8p8IkTKM+0lbavJDBgozVzK7Rt779iZgehxn+9T9qrATokPl8ULi5XMq30MItqeQ2dpg+1GP2I+PBPArs0n3vGd0HCNVIdAWx2cFFeJtWra/s0epp4+LHzrEjsmTeEvbuniY/K9+rwbs2vqav7t4/M1Z2L+SgMWd7hB5rdfpEvf+C8BM8TTRlsc2or+nryHUvgA+Wyr0J+J91g/L/5qh2YkypAghmMusKxY1KuMrPObay4eI0+PGsIRESgvdhmeqGBUb6Io311c4OiUC+bkAdzAxGcyk70QpkGsGnXXBw6F8qN4q6IVgxheLfDamSbH57v3DCcxEkS93Oyvjtb+MTnu2/FjcVvzstYnxiAwQxg50FVfdv3/oPOOKR0jL5LqodooVGSi4+BrqGWDcaoasVFls/cyO+Td/sAWBDKiObxe54tF0OfWwFXxoh52/mWm5o8ArQR9bDmf7vXMw5KKco8Mz3zjDDUxGBar3Zn3A2+UAS03XbKT6FaE6kgzWJCYqbHK3sWkKRM4NvgJStQ0OkcC2K16/WAwoDcHNO57zgEkGcdfisRoFMo/Y6Zkaf8bBCj66XsQgAYjp+HiInzt0Q3LREdfvY6BkBTe24a1pNzudkOeHoQzyTTVO6YvVbHludFMh7seSwoUcmwdXOcBp37MgXCmzoJqAw7tc5rcqUTjqjgUKBb4LYN/FGtN0aLBwZgsbiyGErLJxQUYWx1hwU/lPZKnrSMWMsucZAs91h8lOYatdQRvcjbXrxvqEj3IDLlP3O/Py2qJCosWGQY9mYG8UFNlPrDEr3zxkQd6StGu6ek2tQ+beuawxjreqhb/O+fbdjv+py21Hap+x1IuKmTLa0EmggGTgRaYg81jVEGp5YIbQ2FoHtClIjrB37o4ziw35hUZsELR7z9EgGftVcu33cynUvo2HydLyDWg7yAkuhM6EOwllC8h8tl2DNIFSoumZWlY5vaDG9kgfdSBFAz7wj1+D3EPpKaHwo6IK508bsxygSh59LkpjIex21xNXhXN5CwhFSpbHPaf+RZvVi3obSzJUsXoSNQnz1a1ZOpB4IB30o3c21/sy4BzlL/Lfc9YYU9gBEboduUjs64kO+JaMnNf17kKqt2N1V32HJ5nimhYFuzXF+BNt1+64ZCayhhQ1q3v0wt71NO/EvIqQrA+LjnwLdsuCQRUtz0u5rsBO/1NYirVse6H9LkFyBrq4B1xd8yWZYhq8IuM/khQmE9v79zfenjxmH/ZU/nIO9vYE5/kaYsy2goJTODUfOqjO+Lc0kAz6p/uZwUf5jvWKzbQRSK5fzXwcIBO5WanLDG3tnkZF7SROOab3wo4d21yrfGRyJST1QHtgoQ6x1DejvNUcvl0+PRLZ9PIE0uecgyoGbRbGlypT+hi9bPqlvmAU8CSFAsURA+N4Zq/Pj8p3Y4uPXlEtU52Xh/AE2KkA6VNNuuffHvSe0hAlBJstI3kTpBkXYdE+nJqOBBUxvGotA4tF80UdPT0E0ed/iusggdp2OoMpWpN2XoMZSFM15EI0mcFy3hW4vq30jQ+l0xeidEgwcJT1nMA27yQsIouWRmna3+HpF5g22pP+NQOb0VWekLFfFw0Ux0V7x48KUTOzb3jLI2N6/KTbDWLieVLP0AT0Djpyy1l7vsXDGVENUF/jCdsQFi4L/Oz7I+05E0/LPfp5UNCMIB9VN4LdvFSrgpK59nCRbv1RWqTvRffmu/RM//1C7R8Gz6CVUXyoF1vTkdyNRWpvn4HYee8cQvGah79Y6aHSAl6r7CShP84296jUo9b5ttpn/p2z6NqotMj0Q7iEcvXL17X3maAXMB+gPSFyWePULhl4ZFb/XCzMNXCiC8YZo86UNxiMVXyzijv+zfHL3EarnTcWdtm0K/q1uHc48I4knCtcE9i+Rbf5MLzw4wNyZIXsEv9s1ACS1dS2FN3rIbAdSYePrtOVp/Oao0hg17s/skfLkrG90ZWAfPY1fOs5od43DfeaIN9Mdx69pxUnKduXNl25FQ715dMBcPLat2PKgMR3kW0mHqckLvbcdW51AonDZQD1rpPzXLKJlrzWcod2g2RwMjE9UKQVjF6KzgfPEzfcBVmVs65khm7GSMk+M2wiqz9yyHFRNd1sjnuuBmadTb56ZpSl3D8MwbvA7OZQkUMBgwyMDVY51XzquvUcBNnJG1BBpjbWee0Kjxxemkzw64WkwB+2EWm3Rdw95J0Tv+Uzp0hF4l8uKJRQtP9980l0YwZ5TvMhTt0mGYwVUXubg8pk/apocU1pqTX2SzJJJ+f6wccKksUbQMIeZ1THS01yHmoY8eSPl3+q8nNrKoH+WNkeooPhhypUl3c3VAOUnMxi28yvElS8bu/2R27b5CmaY7MryFs+QnfUboPna0uq5NHH/LtaoJQLyCrU2WPDWTepB1hNlZ8FyulFJ9RuMZjMUEIb0vCvr4z+/6KOp1aBj/W7LHZ/W0Ox6rufeBi7WTmf8dpESen63UM8SmKrjBEKXzOibig7rDOy8+d4LN7wbspxfz8dQmhD34hCDAKgjHhfEjF1aSDZty09R7DqL4RDwGjHU9SGEHxgpJixQc9G0hnzy4UR3T+uxSI3UzmlOtoq/V4WfNrDurPSkzPXDqNpdw6tGVXYPmjH4Y6Iyp3/mvMGmyeHdQyUgV5R59FtQIOT6KOd09NPs4j5iDzi8EL+Mg+r6JFgj9NM8GpopRVNNfy07vra3SagALceLc9hdNM1CWQkZVZuxncQkXZcvUSUa1xyJJPTAkNs/lMY7w8gs3UezFy59mdui+cncUHDtTNIR7X5Ao+27mZM31qmoD3LeCy1odpiJPhSBsR2qjvSMl5xa0qD7ColNelyz6lXFjboEYks6gQCoH/HnCOPsnTUrfxoVw+4GjEYTIc3Q1FuGl4GnrzpDU58DbwdYqmkBIDiLcgGYJoPORZIE3ON+pvZAfZxLNNQbin8L2A+cImuMd0GKkx/48SUYzW+1KRLEBWg5gOO45icDfAAyD5rcsKdEw+EekpGKNC+aUCiWTRCyOS/002WiKziOrVkNAS5VadaOs8csUrvia+cbfaFzQOCtSFGB0kpU2LFxwSx/SUEDml7vzlhfdCOYsDxby5SEymdXsjLXa5EkLt4sFx0PcIRRrmHM7wVHh5ipj/5FBRL1EnyKa6h/90JjTWIzoDKV5+7qZP/X7o7kID2EfxdV/sETFUuykJhrKOSTFNkFdZwzEUMzv0RmihQafTUr0gnjqL4b9eDVjnOSMz9iUR7yt7YdF2K17/CcO2+4EqX+eymNG5YgIiW07aYvPKintiQJMJJB+8c4z6jw65juvLbEWLxzpLfKotYnKpz1JsZOV9BB5xkSrRr582v9ENg2OsD71P6vvI2h672ybpM1vvkaqcLuyVeYh9pSlZn9LIKW1u3uunKcnLmcUb0x7yZrNG2q1e5yFD4fCWnSVo5FIEucdY9qY5tiwUHEGb4k8+JJLCaRNY9OI3n4fFN+vT50/8hkILNyRb4EEiQGe0HXm+7X78kyB8U3R8c7BcS+yOFkYPj7liU7i1znR4L/o4KfyshN7VD230owd29magBeR5oFnpzVVRbPoMb/E4Ak/R265u0awQWzLiB/LyPbG+PXOFFW0Ox+b81s664gMtftaY/TTxSOjerQ3rQp/QYWBusAB4w6qErNuI3he6P6YUtr6ksb1RpXLAo9sJn9NIOwj/rfs9EylQW+KOvM2wO+hQKxJpxAeNZb0WASjdq/jTiyVdOXp8qXdxTGzZCTTe4g30aam/mVnnk6CWtYq7ahwU0j84nkN7WY/2PJU0PNNSgXn86SnKsi77jCG+YoQ6ztwLI7y0hFvAG0iOV2bJFwKptXfky02aM+qH7/curfhmBFaGiO8fXNUoV/KPj/YT2JPZ+PNrDJVNUOxlsCzByHBoxLiMjTPO+fweHnAYbwBrF6zNWAS+wuSHqOTD9E6G7kUzAHbky/QKIquspx97k82+CA4c0NHaVn7iuVMuUeMI6NpKYfnPgx79hmsw932Jprt5aTLvnVtV5Y+4ZVENzLmn2SPygfVF9/PC3ZyNUxnJuqz0kptEX4SAG5e/Xe6TzCTCQ4fKcjGhY1Foqke6FFx6x3ZxpPOWgIbJnyWlpZyPjAOwWwe1wKH8gmc9BWJ12iWrs4Sn+Nwb0J06CffwyoBBau+pQcoLFR23PJQgsiRtgMe+guRSAXwM8BUzA68DBXSsGNGelsDqR4LlyrtvsdY/bi+abrvEWtT9X6+TFLyQaxc660S4F2OV3E7u2SLlM26fS7GEAZMPEC3bQ6A+djtR4Q5YTFOO8Ttjjp9Ne4afvjk+n8yu9dPvyg2B3iNnvxfi7xZta683b4CJAXhqZHMD29L0n7PmDR1XOogkLR03OBjBATw4FHW1+1wfT3HKiC/ND59/sfDcRaR3WTrOCwUbVwZrxsdalcfzya8WlZO3JPLJakAGliccyOkAV+Uuen/Z4KqqNXn6/RXPugnIza5JTHEUwx6LweZ4erHdnlbF4sHFXaPe0EDHSxTioFDUH10TTavWkQdRcUJrqdzVmY63QAWxt0YzdJus3SpKFPHTkKdboiLQaaJFy1I/w+HwiyRjHQmUkT8s6Xfv5o9sDsnjDaL8CUAB/A1wyDz3gJN1iIYrziPQBlGFDqYkiD2GHE77qqLNxO2q4oe8A0bYU6PU03CuDqO7cHIGGonsRfBf4R8SSzJVbqkfymfp4DGPQqXhy2J9k3lJpUEmIx9kW2MxZHo4YUUYAPQEV+MaxOCCdXcMvoobZWy2ZNfmHB+IFYHtz+V1ykrTPEgPOpewx9e6N1ge4D88uNHEG/MDQpvFrXjThmejkIJbZDnINqUPZ7N7s/fNuaBRav/Bca0+inRTDduwXg6i+27fKdIRFTym3Hs5KjSTK9x1j+rMtNNlX/MaTAVSzr5BOVzFXZx0SYumbiEqQVPQYqGEistpkvDviSWCULOeLVR24e9e1KQrVDiIYz/Dei8xHhkRnG5KizCnYkCbr/kDptL+RQLGFjVPA/2FUwQeX4SN23UiiBqMn/E/4Koiv3x0flPG2mMPu4eG0Rifwclwpr+ia66dqpJck7jGAZE1g1E6X60momwUw2M7V2Lxgwahengg9NbO+Be0wsDQtSahY585lStlk/FRJ8kYvFXIn+c0PkprMnMEZf/byftgziDgJ952iQDO+j5MWt2QgnyMXLC/1v0Zqk4TRf2rFbStCpzoQk0eSQwAsdn+5IgpJyU1vGCVVu+pP57P0DhUieQnkFZZnrVkMUxTu7wgrPJZGFZC1pp6ozfjSioz30y7BMHWqhgcd4pOoXC84WRqaFX5/ZBk/9iQ6P34p9hsOAT8BCjZMy5jBJCye8JxzIxJB9MP82vdFDJBzxzQSKiBIUeEHWbgUohQYGggOTOKMiL7seFSCOl+3L4tjNj55TQ0jXZ2ftpMMLfoeCDo3mhnGswos8vRnTozvlao3or+QeRO49OaX+hgD3fNc7nqevpeVpnZ9zoCzlJnB+/HsA5Qd9NfPrRXARv6Rooi1W/P+Sc0iRwuPp2GEEu7k99wYREH7DrBR8cWNpLgkU/6/2Vd/ElET/6W8ql41Wtdqu0SoNkflEYvhe+xKMgQGfCsanwj5yF60nlpoN6hNRhxQqEIH/Ag41PAbITONpMHKILq/RIlXU/pG2efdDYVVKfsU1Iu+5LxsO6YmsdWWIil96DY1E7fYecD6pMPoWs0WYspfKqZ8MMRRf01FK38qbnK4d3Niqb58uH+y62TI63rQmo2WfES2lrtk/WRkDTCQZJ2CChqib385V9Z0/5gKsQQHDfV6xbrLX6QjAxDP3adQDY0sBUH+u16UFPwFyrlXmIlqfBH4xKV3dwggi6h9jKa5LGifeW+JT8Jq7IJZH5vZosVeH/BxkzYM9JVWs0a0k8Bt4+UWl2pBj1es0nP/T0mzebx2w7F+O8o5KQ6FbNTiQvwfuRwh78Up/uigpTYWgN1qm5oKheJaCXBpNrfeC7Ni3KL0uST2sTgCVqj/1lt6PXpXTDwXoCbbpGNeXXme18VdENxZ+sPpMbWRtzWS7U+phIL09q7NGKLnGQhCiZp2uuSEhAkSmraYWnhX5YKAgt0SuMimIcDJe6y3OyxxMT4jYroZeAQ83U7jrkI0QpjUL91rJPvAbQr8LQlPUiHEmJcCbdKj7+sOpjegbjpEvOlaOB77LCieL+0fnIY5DDAf09TVK1xgdZx2OwRnLr9gSd05CvbttlAtSvOra0W9PKoHpG3ufFuPq6Kve5j9QDDYwK4+o3fIQBCyGwIdxbkB33dnu/xI5DreM3V9Ro/wetOSlHLpeLRcg4LEvLhEZ/NjxbLwP3cLqVgkhCNiH8BB3FMp8dihabnfYMixeFeVgTbG4mlUB3MWeS4Myg7R04AS2kYLh+PSIcWBwcXxl0G371MVzY+/Sn2wnMsNAs8d7TnHY06eVQMIW17wAR76/7Nfzhn+PzdDcGLUN1pZGcNl+TyfRvzFT2uv7SOKVFOkOM/A9b+PgXJVsqWUQnCnqNbxHR2R6163A+MUtbyeFktpRA6LG+sphoPTbKjorP7YSl3wZvxcgnjdIY/LDYv0Dtnh/HrF/PRmJtLPY93Y+zeSVP29yTsimjmt81lojNYl2C16uv+foU/IWoc0gxE+MByMo+YPE9bP4AprvSefE8IVEgNjyJsqQm5sZ4Dg+Doz9PM9osaI1hhflOXenblLTf5behiTe0kPWzGACrkSKEPfdb1+Mgnhc010kkTq2i9nzBgGGdKe0Yzyh+tzw2NmoxrVf3iw288PuGJJ/1AQLHffn6rTulmMhrdXGCXJa9tLBeDOIXYBSTvFIpdqPwoQIGTGUL6XlZGWFg6l/9GxYAJARZful3Hkj6Y9DUILNnO5k99wHjyej+vwut//+0n8ip+Ni/MyYqscP/PP3jfTVAngkdGIG/boFXhEREhzUKbc511/uJSqSMEcl9l0DphzmESv8IAS5zi0HyWk+KPm0Be+WCbclUDq4KYnj5r38b0dKg5lps+P9l1bfvfOt+4SgyiQvvAMTwTVsaZM6/xlL8SgRPREEw5ub//Vjqcq6F2+TQyOLpCLTC5OpG6ysrhvVVcPxbkuLVPY/4VZw3u8g/vnwAZoYGMK2II+XRIAF6BW9jxa8owekwzdwZmaRaAUF5bbRfSgsyWBjlrdSG/1bN0vSgBddHwzEQIhLPNhPujpVDg1sNGFtwpIXyXnehQAkT5IS9NGxlH3S4ZtrIPMizBmA18XouPqCMk3TqOFOpVp32JKDtHoPbN2XecbBOMliaCF0/w27XVi5gmGd0DSRM7B5U8lEaboH2b7TZ/lD5kJBQyICaKN9GG5S0PMqL1251MqnXsP6bbGxZSyjNtHy62wTRQOE20DEAmQBnGqAfSoNortmFereIcRG4DeV8y4HLngZeNdPu5B8PqJBPLhfF+nOrWfb4al1DsHmDnsmZn8/WyrDyiBavhYV13BYQlXpuFn03oe+nIIuBM8u1oucYuLATJsJ7cD4FBKC/gmx0Ml02qkWoA2HlpmiOBaATiVjMst0epG56HzidYc0HMCsi2GjKdM9QPyc2VGgpHU8LgDU5Z9CiHNc3gt0kk+MfYafUqJJVpmzMUjCDDTXB/gaCpYiAPwVZnXWpTioGvKAZz5J94HiX0ctHQQr2cNYDu3QmUgmmDlS8FXYQUaOaDxt/74R0MJpY2P4yctPag3EAhEsixvtRPuBdwNz8oVehHdphwCdl2hv5RSAl/NgH+os4z9mbWYxDrnvZRMMvU88o1366l2dTcX8IuuZ72RtQRTqdSDbi7fVn471MQ24MF+aKsE1rrbulHPzx8lLUnVOBQD1rEAAtawuD7gfRnppRZUOxIOAyR9++OlDNefFKKGeXmklHGUubyzBrni0hrshVKpScBR9pzPu3ExlbCbYi5hUIoPQ+uxRgqNHLMwKImqFrNWC4ypWNCGvS9wcD2xK7KwygbOR9EROzHC6W4LEDbA5yazCIw0e4J4MYCt9aEw33kd4AfcI0dyOPqVsZkJrb7OtmciJR28QMG1gk7xFJYygEOYSFt3ilxiyXipgC8HHepGLg/hn9VD4zQMYgFtR1j+wgwOIwVTEBf6K97qro1DqwRdjrwTSbwASOGlKAkAfJeWIy7PPXPvSF4WKw3SqJClgvg5PJ5qmk3OuZRXolq2Me9UNbp7vhLa4CHwShJ/n3jBiYL3zaL/q2JlStXFibxHcM+S028xelo62mrn5SOAy8454UimUvwS4JohscICNrm5fT3j2vvXK1H3f7sq2CtdbnX4YoVYEs+Us4nLXPCpMeijJ3IwSQjUVJ6hcGy0VbfmRO9/Z6hUZt+3ES4BKDqKxviwhgZ/U68oXunNm4uDxisavo+nqY/I64m8Qax+zAAaxsUw1OL4CoBZvIFSYoWmUzCXeDIBsmc7BeUkBabr7H+AoRimszbhtuxa3DQqyNsa3ZF5ZOo23tbxor46vGwdREoz+IeaBmP/IVtAcQTK/ewzjqyZDWIxpgiJAsi/lw+rcFYpGJlxQ0YGDqCv7pVgZ8x1S8i1XwYWxcWBD+7EcnGV0pO2MPWavj5i4ApLSdigHHQuu6jeq8ptRa+AO1SLc3YAYUT+R9cbs5wZyPyX9k79dgDIro9Q+6Rpp5iAKZGpSAyq1kZ3P23jZF50TsklsNrLfM5XwDP763nT6jJUXxPMpuGEIFnov7YA96xThflyJjvWsoeOn5G6BhjNglIwczzA3uVOn/agIfPBobb2qBDHu/6kj+m3uxaDygWH6y9zGL4daT97q3J0N+1tBAIGN5Q5QjqK0t4anDGmds4kC4g6qtR+Ka0E4vo/h/9RM65ebw54y7/5FBzLcM9zFqvxknszofu4AUcwWNXey9MBUZ5vA7ouGQBZvKqpZuzBqtc3XD9X/6p/odIYhoAoVbWTed6hhDKLnNE4g/SHYRBhIkxiQzfzbZNTvgH3T6duwTrGioD0i5Z7qNTgZXOEBB2V8fMvBtLNRznSmaV2Yhs58z+WjYW3yHRLiSyTmQfO6DHePXLKzGjdIH3nHYf6CPpn5S0pLtWc6CXCyoyjEuulHg0gvQxv8yqk3fHyf+w1pObM0/+ggGGNe+LNALdz+82YA8Pk/AbGsUJWF83uwJ+ZeVVw2U/Dn4095BPBd/TKx0zmOTorF3TTtiHOP0XGg34gkUZTsk4LekCGPkDuSgBA8m31IQQjW/iTfRqnZeh+VOGL+ZHaIm58hl9WqoUzIol6GBRucffVylXfVdmfDxpHmSs5H1VR/B2TEBnVqS4Lh8BdVaXEmcrxh6yl/RmIynepky1YXsOswskAF83dCHkO6kOVOk8uN9skFyeUeaLL4ifl47+Zs7r+aTsaZPHm2A4ZYsFHt0kROfGHvtwQF+2U+8FBV02OJaoegX59LZZkfuBtS3Np7SUM0cPsT1iCJzK7TpbWZcAxKtvdfVeg0CaqbPxhjJ6BLVfKn6oB0j0EpzudKX3vJeF4Gk1rg4djazo/BICYnnpOKx0PCxXgPr7WwnJBEZyZJnNggfyoMrP1dISrABaqGBjLXF8QrTfkP0Ipp1FL89VgibV0ZUqvwTCQqPGCVOCACd6z08gsKlnHNtrcDp2C/aPWSE+xKDYh3LzZCKQS72JDsRmmx1qMlEDT7tUPi1FxxFlA+pSXKGY5pWUgDoV3q9KKw52vEB3MkSeRJyANSeBK9dp4lRJfWNTKdg10TkOmRawZj7HH+/t9fF5RJZziYv2kNLVGnqnEyomWK8OToLEmgS+aisIfxVSUoDCbhOqu4GkvIMj23V8an6yPtVtyKs8k2lCH0nSvfMY5tC9wS79S1VnI6HWa77qMJjMgRYGVc/V1FvbRE/YlZcCkpPQhy6BtBj7SLoeSLkCJk/LcKasSDaVXCoOXHsLyK5BUgjtn7awnBvNkxw4vRWpqAjMsmnTJUYyezbhJU1H1CTlyaafWprFUx3EsMIl2TXr+kEjUW/tnQLX8xTTCX+Yuph3lO+k+oCD9lNEYTngpWwfAkP3razYoTACV2EEjWILuWpJnf2WXLeTRp2MuNmOAlG7qqsfJv2RqMpePEUvWnVQntdBarK7QhVwYGb5Lat9OYl2CEH9sSA0TOYLnto3PbcfF+VcAGQFwSU8WEdfllEiIAUSEjdsExg9yHs4HE20/SK6dsSWPRQpS66zzxEwR9qz2K8fKGNpZ/6Upj2GkHpcMq79wNFZSECB9mUQMqzU/lSQJEYUpudlvEXHT8nkaERxccamhRuHuCKw6/dDL9srvbCCA6fAMaZvsQZx6xKjuBUA0NE/RBy76d6biq0R1A0lMiVkg1JDpRfVFH7Bhub0r4Eqo0h9ob30UE8k6OclBDpt8l/sIRQYTgAkjLaJUrQMKy5mTJSTW8OnYzej+5u81OtvOOWLyAEd9J45PVD33q6lEdwm6GcGd67B7nWNrClQsd0oDqQi91vG2EHIseOdwhhXmwvj6UmGEmEJf7Gk4o0jfbHpImyJWi536EOHmfZwVtaEntZNROFWBnFZIDbMb6rb1ghyvH0tznO9f/m9+7B/2Fa2XY0zqfcUdS53gEV5cWQ1voDpOqcFEwaepy/c5aAgIwb/bpHmx6uiIn77OiC33WrbLv1GsuNZ7ANJd41VW4nJSMd59uJMGzpiCROeD278rVKr7NIlk0iB40F5hucdMqrghXsfOi9pZkVyLOlUZo4yVW/VHNSJZDDyEsw8PLsKMUq/egHpywTgacJuLwQM4U6fvCEkBp0WTPy5srzBgP5umvkELO+OXpDC4ua/izjmHc27ehG45qpghNAfnnGkxnjW4qQxWEOV7FI237Md8eA4Kvdc4zyEIF+n4wZfi4PSaAG8Ylqen93PsWWYLizNzSHQcLrdf6zwU99tI3xG1Od1mLfPQwqK1F4sKcQLn0KNbmwDZ+h3QULNQpWUwCAavX3plaaoLaXOt+23Ekh8fwc55uHW6BOnBumOqw3ib82qpaxggBxB3caA8cMTdwziyFHxSVscqqYpfwtQWIGMVsDJTiWdm5ncH8SxDdBc5ygMzASX8Og6BDKjyaM+QlHRnkH/S9KPRg7OQpMzlnmVo66iugtK3p/Kjk01nCo4UqXnhlQP4bVidss6p45SFMQAOcNqG6389K7nqCx1ijMfGetvdDeFO4+WixJLgSwschVxO+DcwA8WMvZyhFWgOmlSO502mUwyG31y/5ZnBvzjYV2Y+ROO+1QqYnJjUckfzBkdYPGcWjYtNhPWD+mGpoTw/VB5gJJuYXspbAXne/Kwius/RE9HPNSX7wCSn43BXVYv+svEUvdWFV1pKF/xsRPY+zxWYNsbRbnQJ27FRXVcJhup1VaLGhNyMRrwKfgZBWJhtZcFdAhPYWLIcN0bPPEo6sUO+l0KrUC1LVQ7FVn250IBF5eC1CgeLxk6lV36hh0h4e1d1ADklCFlZT0rmKSKS1aKvG2/Apjbjut7QCSwaKdzKtIvwj6FW0NLBcCIk8e/SAQwPiXVyFg1+4bnpIuZH5VkeyIWsXI2gDSWS4v10RpN7G0jWK2zb3WGzdaqPYZrnUG5iMg2sgHVarvn3sEiBTndUTBk3C0D0eSEfr3p8slUxS7R7SmvDRafXjtRrS5OAc/F1dVb0IbdYzRI8g8LN0GRBagIsIDeA9q7HBiet4+5rOu/I2MQ9voxQLMo544dQiycN1soVL+b8Wkau2B60Pkg8NljslxKZqEfFkOFcv+HGjKVaIrwikV/sfj9piwdBVzEnHbdLYK3vd0JFFC+6UMiVmDLe2VoCBYOvO62rDMWx9fgjlhd/g0I1TcXClZ8/gBzFxQcoNdsTyrYgBnYTNZ0FnYjiIZ6/lg4CezYAjMIgksPV4PDivuBEnRcmKswbwsAppOf9lXS8+8+9dJcZB50eKJICqIErKEYnwDyDyJ9xxQIoEUbYlghYCw4xuxk2E3NbRJODoPLbfDHLf4x4NebjtbRK3+5AfHe4l7yk51aE6Xccvh1quOOSFte7wFwAcLL3eUq85I7+EUqr6iAHBzbg6PzwnvnBDqJYBn/Zs7E+A39ux/GcglPOWDG3v3WFIGCTAem0YnUCfSXLi725ZM/8Sa85S/CeFAzwurwrU0+OluUwQ2trG6jdZO1oh4k8WOFPL10TCkcVokMwxNpLAJPfW54pOrNgkB/aLG0tJGGvbbsCNp56b8M3Qq3YXx5WB2nVvdS7a2FE4+RZI7ffKTHfahpj+SG4zaTFj15GPxItyFfMBm6R08mFBWubTN/W2N0VMtCbPdPAQkjmbkMduJIi3qRENj/U5Ya9jJy2KVMJIHdwE2ikaYpkPdVMD7PYTrpfSB3X3CJ/Cca8/xeN7Pa8guaEE8Io88G1g6L4t2JCOEy1sfZnpzqdfU+oQpqQLPbs237bZUcoeP5p3RiGjmBdQ42eXy5+oznkzigXPUxGdkmYEbWi6HoHEaA8f5Wdq9AS7QIX+ZSO9kuu8kfheOzOteeTnYZtVFgn9rGL556vdR9cpkbcb3/fp55VnpD5pRJvqLbjg+9r1+6RxKIjh9cXdN3cGq/sX2eHbBQcQE3ycgqj3K09L/NfHT8+faw5p+Gi7tifiW1/qj/531JDq/snvm99GF9Qw2qGAiAgN0wyqOszcoNA4gNxQOM/vXFgPpSQO4NzsESNqDoyYhbMfa/tKEEUnAjr3xP5v/N/ASg/U+wKkZsRInAhOAEC26spXK6/XwtGVUv57WC1tHxlKv5wzzo4ldGKz4XIJcvk8leZ/9gzFaocCnhY++ZHumla5jSFE6Bnj6edcCcxSV0G9kkSLiNwBv8CnFUCZhxWByMP2VquBKXg9NHE0bgtjymP23FpOJplXsmMUTeU/FL4xsomfoye38sRfiLTRJpLjfJmOtOnRpCR8qsluxslntBD014pcrvinpjAPYFXkdNLP7rLB4tHlMiCe5xzs6WCMuLg9OrrLDGIrCNwUvLo9yOawNtdKj2WSkYB+YDE85h3y7Cf0BBS5nvf9u7pmqglezoGgU6IMJ7Rcpa1vCty2P3X4I5j/7C7tbH++p3qzpyhn45iTmWIJJVUiHDYUyySqsnPcASJUuw2sUMqEjQxZ1CPd6USm2LLIUT+M6S2dxZvWovz75o438IiDNNFpg7cyAwqkVSrXN4G6hy27ODwzCNgct3zDAT6IWyzdgAvr7fx4/xzjN0jSHax1sRHKK953pXEJ13TCSflLSBTnIY0OBD4TahbnQaENDsz6SalrAlHAlOyD/eb+V4iB8EeZ3aEqdEAtedR/ORBDtVpgwTqwsvoekvhKmRKquuVR3+ewYzzDaacB7t0Urh6c+Z+ffbk8NZUHdBSIPsiQXxIiqvn6C7xp/GcB+rpcC1GOHDfQIJiHj9yMwBSlaaDFfHPL3gWlxewc/0bTxX3e+WShdY36eQZkWNRX2O7AzjcuLqWXFCuc7n6uqIzHgjwu3i38ygsKxd2pkV9zkOO6113URMNeOqMSk+a5tj7jgJpKnzk8fI1F5eVXXd9ComOm1edU46f7QuF7LoIBNuLBMqr7qaRO9i9X8BXWqHmXVG2+AQTI3l6ITsmoCcmZCoKID4TVxOiIUP++Xud6Gwa4O5NhrEnaQiFtPnoeKggoSsoo82PwsB80xLs9FUmuqKLLtEnMcM8Avmwp4Nm2RJjiG6Aipw3Z3iq0urhmoLunfNcfEb75geT/bsmD7RrjK0jYTHfLpDQGb4O8TKMc2JMsG4Vd6paxaFI9TLAGMcTUqd+fU8/du7SOL61U7zH9Ipw61aTb82TusRtARq/d3jCTo2Td8XJm7xSql3sySftaUaeWiZxmsLE8kO1bIdH9y3bC4J9e6uchNgITNxTKRaDA6L3R81s/R/mcpUwBXUEPvPkebbWBxbUBtHlABX1beMFt1xdUbSkWjwYz+FVSumwkmLFBs2N1w3kKEJIyg02Ez1ulzYzHW1QDwocQqms2B9IZYuJi+t6pc9ouoF2vFTIIU6f1ekF9BBdZptyzWzr/xTlFa2Ur9oBNxvmRram0LolBheA14cAH5wFEz8KQzOcKVJivi7ilZ2LfkGPONWlC43TfxHvzIY+AN6N+OChr0d1mphw6yRezVLF8le8QyR/WkQwpmpGm96YgAtlRth+ycfDsYfRfeISPcv+QTcjZWazH0oEN/KdQ0gbYcwyyMg22Z/cCHIV6vv4N9EyemHNM4HBOBij8jzIGvY//Jryi2jNJnCSvPm26ArwFq7GhVQsU7p/pbYMHrzw/xpG98Tjf/23o7ZMQtDhoSWmm0OyfTRm78iOA7U7EDcQkRyt88aB/zjrD3ep1je4lBDc5gIlZfPiN6l9j0GQ7tIhHcFSRu6bChqxaxrigRGsP8Nus10Ix5dyHogIGVkVkQlJMmiQ0XUMCptg8KC/yEZ2g5yHcM5md6yei4TW2jBoBD/W81W9r0hjNjlPE9MXZryhJfbp/T63rQ0S/zOfAT/7MJD/BH2bunwOoRun5z2i86dhmik6+sMESJZBdU+fSsLiWG6tC6NCuRh8Cd02QF/xDzue33wuEqY0Bq2uP4S9/KXkejssQkIuwIgCIvInvPq3dSm9so6KBIfVC7SZLttd5g3dK+cAKXgBMP2Ouqq8VizWTy0+B2Y2g1dJBFhg5zlSsuAU8iSkwnoF9MSxyJuqDX84VSdhCgVMwTJR3J7JpiBSqRfa6hhd5xsGJWruLF3fb6tNb7bBT5Spq3Rkn3SdqwR/hEz6eKYq+5aKfyDx2LmlYbcv0Q4qDtVJ2S0qn7ST3pdJn+TDpT1OsISEpzL6mkUIv4VuUZI2i+wn/uxa2XNg6oL+0hbmEHMiA5vtbEXN2Bt14I3Y1xrLCiA0Tm6WEjDc8+e7b+0xmQ4ZLnXld66aDWNn7jeubAmmBjsyjPO7i25j8J0v87R8b6LCcFMijMrrsU53ShgYmb9OFi/++F/oVwDjRdiAlq9cGfVriogI8pgf6eIrXMp1ryc+IoB0hivGqDtq48raNF57m9cVNPa6ECFOtoaYjdfkzvlGNQdWGOksNeZc7/Bo6BatfZZgazqh+UsXXEjL3x8f25FMY9QD9DqhGfF3V0DSSsgOFLJ8gfDI/qzUJhqQy8SDXReq7ivozbukrrEJJ42b3eSRBspuO33ITGejX1RnEtjU+n5uyz0r3I7tfAS+EPTZ+4YntX5uowg46ggAiz+L/X2hMjmMIdX2C8e5xXQandbBvNPhykjb2NTkqVnH/7fktsOlM81pMs5+WFvuTyqCiKe5kFyUCDSsIpMSTIyZxH/RpWZ4Y6qI5XRHMgtITcA/Kcjlb5jWjyZMLaP8f8PO5mT+WfHsLwhApFJxXof7g2NShmkKWa0qL9hr4QETLHqdQroGUE5uHiB3UlJNpKF622VPiR61RfYDDd0yYIaaQ8sRQGUDUb4PHwU4zyJoerrv8Ip0v7LplBr+BzSD7SbYPWkE+VQKzt2aF5yT0OGl66e7rtj8N8JLMa3BzqKrxnG2nmGhbUNvPe6+V98I1V8er0zdn0CSsBMRe+pbpOuwlD1eHIeWNh1PVw/fhlbVecNwLVWcfQN1Z1qES69Rpxly0acs0kCuCAVdVmyO/hPyGd9KuVphGmlMIVqgKAeNlpADDBWsr+cCWbpqEZxHPYOpZMjCZ71ey0LL6+2rG0c/2SXAoRV0k02+CWkH+jxIIc7s5EwtM5ZajNE4ZfeLHygI7/RAQhwBh0QvUdDY222Ruxxd7zkowSnnMh6Yl+UASKkxR74Q+brLBKOwiJ7vL8c+8JbwbzLX7tYaYpfMmKOoXEEaQVF0z4p6fowMw8HrrECmxWAeR/y9l4xu6+kc2sGNYjplfJQykYWJlojh/QLVmzeIdQ/7RvMwRzZcewsoyr4f76V1yVgSuCHLVZfNH1hqIllW+cEaaYmmuGFpehMYeTfN2TajBkGivqjDs5tA8T+WP6kqnOTnA85Ib02moshyS5CJ4BNkVK49rvEIQ0LjrOVwAEitix+QhXk2ZF9cFxziu2XtEwxyXqYu506y0TPvUK9BUFQwUovK9X+gzFnEGIMblKeL0EQtFEzMSWOPMaA0SsB8+uSbL9ve3kEnZeNE/V6E96AU/V2KgPF1ORQIRAPD2c+ZbYqPWwhV3N1/D5ZpaKjtgXTtvrnwJGBez1m4alegINRWvrI3rnnANeLqAdcHra6tiOErQUVN3XzGNpH8K7TI7lrKfUzP6wnAltDN3GE2RwLksSYEf+S3+mtI/G/M/JS9xA9CTOkAv9httE9N2z6m5e0/GFfa5SOivt6CWpIh9tZSjLm3Kn6fDlX3LV4OZBbXuQiOWr6oYK8WWt/ebIiIP94vguu89BJAU5U3BX35FsjYfJmShwXcTpE0SN7SCwWK3IZlovJXS0VsfFoWPlbFYA9M6ACdpfWSXcLDwxhTfYcHoOQ9vAcVcdud90hRZyZFBMNR3M6mjeCzvu/K7n8uCxC3f3oOsm6d2dtahxr4w6tNF/xN/BvRLvVq0g492IMs/o05AKLfLRnsDP1wio5t5tnet8Q2lIA1DktglXKgUyGeyNHTSAtM370VhyfDxXFuJLdFcCnjZfKgjpWXlsy9hKJP/thZH7VSpOTC4KjzvyD5gheRvFkgyeVHZtl37M8+FR3BRHjcOUBNb5nX14BiQJaIQue7bNwNAlZXAHf7KH1FKcrB6cyVaPYXnL392zoi4bBupYLTG1TjaS8o5smockEue7BwfxhGxYATCtzAjq2TcmsrJP8g724CrlLRHI4QxSRnqZyGgSKP2n7RggR5rKKGhkaxKU/m+/DSN9d1tAClsnR/zAsnca3ioa45VnLBH7b3AcI87LfekzNEyiTaKZkYCLUP6PohaF6bGNT3sYoo+HgkRNK+k3f5wgNguTZeY91ABaQRY0VnfvEChFgQWFJQuqFkpemniE2z7Orujf/5Dfyp1YXvsTWrO9wlp8h0U4RqkN2pQhDkw/FSDZfEAV8PPO+dW3+aAj+EEW9VbwVj3/34lMbMdOvExtKPTxbMqPfsy0Elr9dCl212aggSGr1dE7c8Wz+qxiGKf8HD4WPKriu5sh7msmVi3zZYt/xO5NG346DjQCU/pNEkyFwU8wgMLQfGn1jr7FRpHxGQ/piPq3iBKDRLxRqC2HOm1cX9wXAeV7WXT+xWBdgmOgXuqcOa1iKykiiStmO9WGE3cfAYbwbDfin0E8FMiOdYcaTO38wuhGvqH4ZnyeWSZRzdL8chns0XJTNVSGdkKUNC/AAL+6uCLdai5qY7isUZhod3WOhcVEKlacUNRvnA3vq4+d7Cvxw58bs+mC0N6spS3m+5axS0+KMEKXajpY43b/hBIun5NGDH+SyU8b/mrq4GowE2QmekFzSB+gQ07O5JKytCD0LS08kyWxrlsL8cjm83zeULoRg2tNW01hTVEG0XfKyKDj41b0fVAQBU35BGvEQ5MjssaWvGp2RY7hhOjEqnv1DUwPZ0bvv9Ir0Q9wFv2GH68bs9/bhDoLgvi2RChaCIJqOlvWa2VzY7sUptq0MIWh10MZUPz6Y0JQNX/cSqG8ajoTekg70jFP1sPVVvjOZ6+PI5qoUucB1sryC6iSBL55MndKEHMv9IvSHwaLGViRJda4lE8tps48h1C8DDU1wBGlc8wnqeh+vs8qIXulYe4QiVB9YrZStBsqS58zl46To/ZgEOC6Uu3acT2tr48eYIioKxsG5FILJlrevT2m3PQf4Ez/VaEptBE07fBhkZQVZLkR1Xkn0ruetYTuVMKm0WNjGAcKGcnG8bKjBlyyWYza33bYgUlJNVJULuvvorWBQOIc3ckIlnPrgJ1Yfy7qYP4rvoTSJNoN6K0sHuSiByygUofY1AtWOWi4bkAS5aqK7ztYNVM/IRJGrpV052JNzIPkhj+602jZj4EZxnEWnmnCnNFBSG1aicPVwoAVUgePF587spoylgDUwehBbFk6vIjp+jzFa7ghj3HzE4drR9EHubYDdywjhdNgQa4KP/CSdRlThYJeM52cf4bn1CSYqju/68rkz3b3kVUsCecST2zwYLNOaD6c1WKDrSJF07xthVS9zvv0ATdn5dJEGiJpH/BGFm3zZje46ABeOhGMCCRuqypWC41BryJRhYGxlrgACbKhOIVwS2g+twrcrwJEMpqFOOfCEF2HOO6fQ3ks6tbgFKp48wGka8uZrLMfF+ipCa3/UyRO7TLTgCvSRPDlfAR8y4n6e+RwRlQVLgP5qehDR2TzTfrgzVGuq6BBylKnQqQGdPobowmjg4uMBljlGlLt5kOwzS6cWU/YLMJMjyHl8zny6seu89qXRnnZHUNz2V+c6ZbjdIuLU28Hface0Grnl50XtlmXfDfl2Rj3YNjaKEo7pwNQKR/ABAUsRDKllMn5Ngp8AqjOF65fgsVUO5L/Mx+g9RdmcYDI3qQzxwXRSyB+XqzZHvifUBzzjZ60Xa7YaffoLltnKfn4IWtFQfYyzrGOYoDa/dShSfxx6X0ecTt4DwDLwY+daBHH7BO4CLyK95g6itr3pFMVyLjCZU8Gnzw98p3Qrz6loepbvUTuRsO8Sc14I/9oS/cKPqZ5N+7buLQ7mB4foE6ynR9r9VWSEd0fIzkGIwmkRH/vhNUFlJv7b2d3d2ddhkAbfTmqjz2Huth6Vm9Qt0470z2p13vrXL66CCry2HeklW6xXCxOn/YsMmBWIhmWxTr6rtGVBzNIt9fw9AFjz5LZiEJXzFaUmnggwsH5QzO3cOpiv6K0RdqMZyedk4TFaILcUeSig7vk0NMSPJp8aTRq0wEtRGyw5SvFcoYasaz7zpP2Fr0OLsvCBYommqd886KIyjC0/YumhB72zahxICV+SCgQqy4XdTtUO/lil2XtEKt+eT+l3li2dajfxV6MPGCkYUSDuGhgMscS5I26lrLseAjgAIHPw17DamP/gHsKTE5X6nLVlyzqvnNY7aeDWSS62HJh265YyWWIhBIU96s1yINqPzsXYesLQfvXxEYk7MToeicnwKCRwOxGVHXpF6klSvLNE6qVcbeSUMpzr9L66KdsWIO5wCB8yKKmTLGD0M4Yu22ck7j7VxIyvb/VS2ziaHG0GB06KoIwzIfQMoVM8UgsZZ12cW+BaZHtQQDax+i9IH8OPl/SBWMwryfcuo1kiP4MPW4JGbBkPH4XlDBKl610K6BULhX7T3hdRDxRu0rdnVLgZ27oCTaFMuJ1ulk78nOIWzIasErxB2MpxlfcyyGw9glFBESa+TZ9SK0N3QCCmEpfortQyFMtnSkKFrvF+7C5gG9GJzHXhEvL3tMmSEH0Ko1uSHQb9eo46sdHnPDCU3hq6Qtr9TVNLD66NcVQmd0bsYzsRNR9Fl5PQ9XkzOQAK6zFZcnaLngXvDL085zYmlP8sLUy1uGKb7Y4wD82Dzfxffog9Let58Dw/yIROjdimntM/B4GqKwWW5Yzl76ruhpK4kt5XMhUxz7l3clRbt1BwIpfLakW8y+Nflnu0v3Kvv9wcFuFwidPPc80ejGLDtt4GCElYxIrbwB15V0b3Beo8UweHmL3ohVHIU2lCavy1dEt+rg3vCv0iD72gtwQq5iCn54+Q827jpNJ1UJQKs0Jaci4rz3AaDw7tIoy6j0flQzCPYEi4pHdD08+pc2W7VgiNHyHmzPrVwVJ7OR8v460w7SnVZ7a8xrkLWbm+HpMzbnLGGbwk8DYTFNeieKu6sARpC6g5UyMSzUsQCqlSPE6EhQ+9gsnCQ1p/QP+cqg5F57uGRYcS9nTFY2QbY8b4R+1w2GM733Ij80zV84+OtDqln+7UzH6GlKYdnvZLmnrX4NuyHhesrJclh4on1nRgE7KgVbpkLNJ/JHL2c14YhCwinM23QSXyPTFskjtXiurh9YgCi/Bku+oND8dLqbUlF4hTSCpEPyiAnKr7kzai57dduHEF/i+Wxr9I7H8rnW9heHiDVhidZ+NHEE5UF2TrXr1Izkruy+OzQZfbmyws15UQGrGyGMd/MP3jZvw3+sUteqn+4wSBxcjDapJNmXk6yqmQCDcxju50CxCjbJv0B749Ut3/3koHk5PYweuUxK79hAjz7T6TNoh3ehZFWDxZqw9+Mc24aesDFb/wmaqBqwjuKGZze23zGmRUd+n02Cv090RyPNna18kASWU22CC2MqnlK/x0Xs4XW/mAetUsx6fMfx8zspKW8t6/IiFZMSql3dLztJjRHIH06t0ckIJBVuWsMIYql4I9PlWCC7Xk/jKKm6+D46/K1HkZjSFPVbsmMEx+2MJIG10PNzwcgU1qWsMk6C8kAT96QslNQcVPEIjdW/AKryHHBo4UoUCQ7CxW8ivIZrGdfBd9JOZaBWKVTZTbjupPl51Q/lEPlvueVwMkZxRO4RfvuYpS0mjusHTfb1DB2kxhWUJ2jdAjfSzvX8ZkiEcGNl3elTPAGS+e+R9xyXO4yhFQdv9CtVAC4Bv0qxaXJuE5OAeTK+B52g/GacIYxCMP4lkeWJ3bTSN1tq4tyViOf+yoFM5usJglp7L+CRWVlUAeHHeOrBlWnG3VvVWbwQLSP5FwCBenaVqFydZg8Np9Gn2vB/s6Ywn8fNQAvoI01CoJMEQ2kMhzq1fIjOj5ANc3K+Pv3nkg6DM55n8zbQ6aIEgGnADvQ1Kz/nKQzQhRd9IUvJXMPftfhlVsw/+/UpsGVsDIJ+1tpUh33/Rh30q6SUh3qa2k4Hi1FZe0gwaDPjfjXhfw8uiy7f0lFhJVDFWqM2O3fEqP7WGxgdwJZEgC8MmQfo0PHS/3CH4PXsRt6QwnGoFaKdLTv/pKIe8WsSQfEn9dVsFG0Wl6iZuLdhMrOkR5gE93uWNYLQNYbndT5U+jG6i0dTXMpIby3xNdYd/S/62xQ8WAYL1hoQN3VqTOmh+m7qLe4o/7r62oCw5d/llFseEqbO17yqvwM7XTsdy5QUiHP3yn7Qws3ruzYnpW5vipYLOPjdo2Xck0sbbaNIj248SQ7iGCdqNXnlgYnXw+aLPyVaYLdeWlNuroWKvLAXsjwWa7JxkugmgJgzBkMWtUJf9HnN54AcHd3NzGB9khsTDMdLQqMF0FrMWfNzBaBGjHGB3ca+91QlcBxsqFIOGY2lCH30gkS64i7i7bW6zl1fUtJ9VgznJ9ycRqzuTR+CcKQhkurZtD93zjQ5yZk6721bJUfLcUAdAqswCBcHQ4Cz88sEcK5uxfl7ew8UX8XV7YdUWVPPEZqj3SSistZYn+VWUo28Ox8HT/VeJI6t8hgZ/Ib6cECJ2cII6x0XOyQjKM8JJcWVMtDnY4SHY9a2+uNKcjSZ2Pp0/KonkC9wKwuA8Ws058h/CVgBnyF1rfaArlKfjRsMGUEwS/RGkrTxYsAmfKdewey0TPozfMxz9jOGl1wE24cw+lsqoBqAh6ZzmP3fD/dqIeFeHUzEPbEG9DXDH1pxz6XmjziGFiCJnIaHUdula+ELWB/0PGUFjAxBaIO5Pj7l4LXQSNUyKZY0UBdDNKUn60tT2qEZYgRy75kwChOvHzP+BPdPsCX0D152hExJ8JR+xD1t2oojn86xQMjs56KO/qNKX0P3QdszUvh8ZvzflZWH1c/TOLiHOcc26peKHFqT8TnH5/9FkjJ/PNSvysUaBibZPzN+qcvEVXN4emRZLCGM/CuEgTzbp0nZ1Gp7sZsOhfciwMAiwZeoa8fhUtZiMp6GhL1AF+7jM2YvphVEXS0FUi0aOlon7JI4VCJm2EKZd+XR5OZ+ND0PA1mwavOS1Iyjx6HrWMIOOc4HRMx/8GXRShBCn81oBI9CmSw8lw1VutFOIoEtLtO15NqjV9hqMjPMZPAhezq0d3iXSVpfO7t4L2JBODfxGzLdK5j14MjES/haubTmmU94LfFG35x6z8oQixkuzaF8iFTIyQfwSWGGHEQVUfY6tXO/69CQwu8PSsN+/JvB27WKmoUN9lVHqytPikmL2LQ2JvRpsbkFc/nka7aFbkixnJbBIs05Z+bLMysYfGm4jf/AVHBmE8fQvAP/pmOsTvnDLsgiKs4+dP3ffkYES2peMUeXx4bMKJE0lDNVS4zpbqvi+RNT/9tNbp2ynCEPgr0B5AemFY1U+ThaXxO4nKuaDhUUhrpxIxdGY5HQbHWc79eyMWLPJLcTv6tKK+K7ZPMjNxpm5Va7HeeQQ98Qes5kVwSf/a17brubnlW73bR+hY8gID3k6O7fgKdEJb6nHBNTxl9m5Y/Jx5jRtq2Jbfjtc23WouzDTCHDGtJudKB8fi/BZ3C68nSjkxkQ1euwshXbrj2NrUcoO5xqjZdK3Tq7DnGW00gUATEhWAag6uN/FIwvllCn9APEpsjAA3UAOOwDbVqIxXOj8YN2WJ+OW3pHiLclt4KcHaMIYmgEZpZF9fxVqJEIiwTfipW+PdDDRB2a1caAYHCvRSwO99C3oiTZXwC7LWwjxIOZZvjCCbbShCHBKvIU7vq5XFKuCgGC6y5Ot2RrEV4fz9Egg8xCEMk/vA0AFP1wnlH+OvG7oD5GrbbKwlId/Wr0lskbvGPdsw8N9yqPriXkLI9ImHVlYumG8WYozRZKoFyFJuaUpI+GwiNRWPkQNwrSyTJgdOf94e5fue51hNdadp3/zOgczC2Cje/4Mx0a8Bpz3O/F9+HWW1b6dR6+E2bQ6G1ID11I8VPrJ/GyDThVRG+xzFwOFGT88ga0TWGbU4P0YyJMd9XvbDfr3RulXf1iPNlSnlwD4a/TL2uGWxm42EequhpjIdz9Xfe3PEqECTtN//yHvE+w83X2X2Y/0KUEENJBD1Lqh676RzzS5ISVZDDiOVu3Mrl7W4t343yy36jqvOjvtY7dWgOmnaWdeeK/H2QMTlBSetlGFXrS5g0IsrxSiQII/bwrqph334/NPWtjYQUIcYcFActeH2Tr5WHur9iSUzraHLy+oIBOv0OA9aPyrG5aZokCbdEPqmNjmcRCks9CyecuDulvCxrOTk8Mf6OeUqX9X5V7hIP4B1lNnwZAXKiKiuDL+k5ev08TviSUIgLvd/n/llEXSpnO79bHJtOcjcmeiN7JceAh6LFYdaIQb8JVf+vVCQRCQU4CUK1Fjvp1dDd8YH0EoXFh9sq6WbZCaJomgq7ilkG0TBD/yh2Si+aNgR7U5ZnHeCKBq6fqlsyFN7lXsJjqdsJ5c7giqJRN/RKTAKMST8MXtmdlaYKQ0z5EjTjb//CM+5rRTkB5Mt4z6ZcPh+6M+YbwqSpedjXY40RcIn8icMk5zq4nzPbtU2N2RS/ZzUDdaRwmj9Z/NfP3AkCb3OowQuLXV02JlYeWXr9g2ngvgYF1cHhw32kYd6Hntb/7AKYaUSj8/PnF0eXXNA7D7NDC/gJSOYDfTGC8oYXOMVSbBuyRDNQARSi4PD8+jraHxJ+J8xzV4tiAjkGUDEZp/wQsg6nrkWQE/MYkhIkHHvqnCXS1zZlYCAFBPB6aIoPOVl7aJ65r6bzcyDYFFeGWU5eW0peBGV1zi4jGTBexBw5dPU7Izbu5NRbpBRzXq7o/0enuEy1g9n8YW3Gc3KY6R8J7uvS17m5B+ll+895OgUAx3852YQQDWOJCUqYvrJ1uRQ3KhHVOvYDx2IwdaBdIOKYT2UfWhOwx58GOTmy6j07hDt9bkA1hgLVp9CI4oyIyj3vJZa+PtfBb0joOgQ4CAyxhLoGq6sKJE4EVDu4HuCbALS1B2PAwRkY3ESpcg1/grhIRbqvRcEKiWXvQDrWdlQZpcjRgHWVIZvjn7FTy/w8l8lGH/IunBxGSZp+PYnNcC7Sgzli+2u+UbzlE4iWZUJmEwcF8xKY3AzmMS0E428uLw2vPPXMtRru3H4+BfHV2ILiF3EcjELzt/70gQzHmZrsx1ywUNkuEQrfCUDyXQak31x+C00IG8bMs5mIqLMEtGb5OWC/iVO5zpN6OsK9vDl7pB8y9WNHCkPVQiOWvyqwA8irErHoTVx7/Aodc9Ch2+gRoV9k40Ekgf5Aeuca7qR5NpLnAMAKfd2N3FLYw5a7Oh8FLcIOUghGV/Jm8SKowgOmnz+PUXMNPPC8gB3yRFxWtgap/G7WRGj+KF7igNSpnzotaOVr7TPPjVRf6RHn/WnTiuMwPyAwfibg7In4DXVttgMdlN0GIMaoIxSuMSsf9K0rcgpAPu8V/VkAhbC4VmMhdqdOdu/t2CJ43oGcTWaTWcXRMxV82AdK73wbKRo4fCPC9csdDOtdEc7rqIx7q6F5ZaU8y6CWNhWeieVUinVgwEwcvjRlRTEXw9kA8i9LhSN1HbuTWnUX0qkOQEfZX7k5sG+1/jAJR+FRF1ct0bG2zmv5RCv/hYFfOCV/vHCVqBLSj2k9gcVKyzvfNUu25pC0B34ZgMkYrw5scr0ut5H+FSp0kT/dS1sR3VtGSuYKSmKGST60oaXigMWTqhXHCo78FriLo5xvOVgNj1xBteYs9JWPgBzB9Zfgov6PFuMdsPH8lRmrSiYBabcFz1tybO6joyMGQkJL+EWx1anpgXlBuZeSMjWHMLKlpBe65NI7EY2Sn4mkSRPCvxgi2+10+damsCSviHrHd2nSFBYsuxMwiiGJroHxb/KT6IXB/xe07xEgacuHhxtyRjbeMOVZGTHow1ZZUtooIi8Q6bBD1ikJf00q/2oo5xId3OEglDyXgPW85d1tyaYG5lv7zZwdMDxkWAyEYvnsDQHZrot/UY0ihiwQQd4MjhA0rJacAucscJLXwYTOKcc1rBe9npJTM6UfF0R8ObgxFDbqpBIeL07BW/Fc7KHeT3gf0RA0N5e+PixfBZW9hoQ++5tIUhrVbloMBW4+xtA4XEVF1bbgLQudE2p7JtXa4qhebk5y/DoQtyzmTECV6tiYQI/bKBc+2GiXU2ajZ6S8fUXVID07imt4WeMkNDkgJH/9S9fVwcKASLCF2YcZSasSMmad8ITvRMAOEJcvHq8WpmjSRrq9WAdxO8yViKbUk9zEyzq8FP15ekMOClrIQQaPDvRpS/jWGONz61ZkP07Dl1OHzgXiqBKbw4DkDWfeGbdWc1UMviuz2jhJV3jVsV4S65Qn94tPzkNdh8CPIdeO3QPkvn6Gi2SyIZjNh9a/OtTFobYIal30Ma4lBFHT2ZKg/LynjVWPKQnvncvcabCNgXJBVaEuZmmeg4NO+ppUv4tbUBmQOsrX/U7PCmo+D/udqPa7WZhNeAqlvsL3nNiE2kMajTwgd3hHrBYxBKevc7r0vYWXuuQVnXxAHfHixLLztsxSMYP6OdnUWwo8WHPgxJTQXlFfgXf0ut9NK817JbCPpWRzdZ58l3bRiPjo7bVcZNt8sNk+i49DNYxuEV7CgQRrJ08YVksUNVmgzJ/Ltut8mhWeMyLl1dfCwYKvF31Wr75OPD7AeTXPsjuSjAWtNs2Qy4pj6TZzex+coYhVg3EKjaMMK/9cj1fjaTgQ42ftSSrylwUVJADcQTpiSggl31ZX2xb5qZdTrGJEr5fzOaD7A9qeXXBsyx5DqC7mF9H0Jn3nvr7w81PFDsMvV7dhOU/s4E/quW3DOGfXF6N2rMotBB71+Z47yokNgYUfYSbUrZYmy5BytmwzxaBAKvvTND0eVWlYc4gsvvP8b9uoynCReceRTAjSrAClBcgCXGTBcK32/c3Ez3VbZi0rliJjdwLuhFMTyDq9bRNNNytTWfj2j5eCjyALq9tlc1SnoQLyjG0ehaJfaqHM+2S5RI0zzVM7C9LCrEMzIiiC+NptAIpKuiz7gVvgVNNtEpdBfzr0zYjH324T2t6asFmFCduvnp+9/cJmcoTlszWng4sbgiWrcBhKh6NCs/NHSlJb/hZsxOHLTnii5B1nJryB+Ta7d4EinNducAHGT0znCFfMvRrGCc3dr0JtdgNltsZVDEuJ3WmKZnf2xBnS+NH46mGX0wUoe97YfEPrdD4JmshhdPcOPyMsbIHQ8R20HFDRnkMbwGvnPcMfmbshWEYeaCVMsJto6tJgUVU0Wer+L0lAXsTG8KI8SLXAp99b6mschSy9/dCiZ8yNM70Jm9KEAJKTDJ8kKFOxJLu9hUBrcqCoeol1PjJjGZNPUbKExACdD0QwRt4JjOKMNW3KJr97VeiATWB3gW+wLXSt2vZ3AXqo87VBwlc6jdhcxB8sN2r+rmB4DYfyhkYDbm6x63HS/ZwKbEgbTLB7z87FVtUUZ7EOjoARLkfQowg1ser0IBe/7lT2K8x0U7ap/rFrWmJlYyLmHjzo+irdnE61XSdRJcEYGL3c1vB1wFrcI//MnstYzEmT1SqKs58XaY2qiiXQaWUYHFd5iAV1df/nTZ91QwvoJE1OpYC1kt1LPFVMKQewLxLD5xVXhAVq+CF2pysCNryaukyyjrzynCTza/Xu/GKj9rKY7aR8EAluaram4y7ICREN6mWMN25mvmCbPPpFUjd4utJEv0vKwdVG6KIlDiyt9QHYjrhFQbcm1Srue6kGT7H/JD/ANp6usijTU+pGLNwDPFdRoEyDxOiBcsS39UGt77BSzf1bLXng+lxJheiWFxNBY+nM516OD7Lj+pJERJkq/ayshvGeSsaskH+NwzGm65O4vzdxWd0qu1VkrA9YdVZ2AMZtiyehc/BZWjSXTzvB5ri86BgKH1hz4uiCwOVgvC9iBYxeLTGbcacabw9IJDFWxLfGqGGwmsuC8FIrGiSh21twrR1KJWNW7R6tnGf862cnpFvCErkISYceJ8etlyg/JjKSb8Ss4FWyY1NquJ3vFS/CJIum4yoZhWchGqaLeuE45idEADpJWIcdIm6wLASWWUgxqqIoUxUML3+O4qpbIVaQMQh9n+oLRl9LyL7EG4HLmFkPR3b/UzfGkatwM/jtPqZVhHCLC97xbaxjYgrYSsK3xvoS4Wt+M91UWudcgbM/oJLlYua06EkBkNCIvohtf5dz3aZb5maBWpIStVtIXjSNOvF5WPt3sD8qDyiey4DGLO2cPJOBnWWFrY2LrornfvidY1NG39cKhtMEms9nX3mezkInLXhMowuim0QCl9CZjGJpQymoLimrRHl8BE1QNj3DwIrAB0e2r3erASvvcNFxC3r1rFmt1pXROmPoeBwgOVk0ecBLBcaVz4SeZ+S2WZt+CkaSNUUQo9SP/I4n4t/SuA2G4p8YEZz0CoXTMie/UCgEFXw9ov7G6LIhVJ/bTcrCbZly9ObGD4Yt+evh6z3x/cr1xO5g1IArEOQ+QiE6S2v5F7O/cUDULHU+P2c9xsyopvCW30FiDx6Z/ZV26czCAu4DJgef1Z43PW8pMYB34ws6KifFy8BftQDtFm4eBcTaU76oz8doD+VFLL0vxcOaw3iuoO0iNdDr2ZB5pG15KAnhxVeLzfJrr6l7bO3Q9FgKn0ulBLacuus78LQ5BMu6hcugOEBhBIBEI/N008ENQO5GReRVf3aA/ycTmMSRKWZRi9ldD2o+AgvNKNVJ2ElZ/1HzZdyuI/S/NOWRzuRO1ZNIKfG77NsBAeNwNHscGskouVa8LPCtfPEGm87yWFxZnw1qSrgI0yOSYtf+ronPHl6brB+vgBkc5c+frnFjbuJeBDlM0EwJZiJIwy8GoqkS1f2aY3sBN945yzyLQbzrv8U1TSqj8q1bY7/FquFiuk0i/gug8EgMnwszPek00cFT9xogUAYBMC417+J30H3yyUqls3ksvLtUH+oYfcDXIR196atXSCi/PEFhi/gNZiBd1v2nZ0A9D8miADDCRPhrqhmDNAb5jG27/X0+va8Crs8dRAT3eiJVl3yCMN5v8idz7r4n49HDGaJ+M3jjBe2aLXYFTZh1dTwKiCGdYArvzz7HNmY5XDonnE8eyOr7GTmYlTbvpY/mTTa3Y2dRsLH7KkmAsFzT/13CsZjId1fq1M5GjtRV5v7synKoqZL1xFkT9Mq51my5zbdh9PtikvH+3T9MdiWZtmKJ3JbEhd+bpBf8ro2SB0S1usR0SRpH7u//qI6kyBQZYiFkwyb9e9PQ7PKci8G7ukANkT/7P2ALv+J9k+KwC++2eiQNWpOdPZIGwqHTF8XWecfpDwT1zwRIjd5z5I0MsLbSz/r4CVO6kQUnjdDqPr0UHHODaq+XvB2MgTzW3ckmOAaBD/rVVzxRIlMroygsNvWldqd/Ib8LBvRps8VTiI7ZPdMgcAiCg6L/EjkWCdEGEIU8bQmBVRZwWv4aM1hPExXQlzxl/dJI9hbiesysnV+C9cOm1IsXuNQea/tAsuNNwxu39SXN/ymPgyIjqoU3P6ReI126KyaIw6oeTVzeGKE2/ByOpFufVwJOaJ9vLYRqJSSo2M3XsuRvsyIdm9HOlUJ2YCjOlpemTgQszh+mXDXPWSioYV0FO71xbtOPJfyFHprnmQ9nkm7c8x8Au4rnZQMF+693fe+2h/dNZ4nh8PpzzP1Kf2pdl0Zf2x3oOfcDgZJBdtBOCA3Sxqm5INe9JqrjxmgMzqxoG9I2LqxWL9OWkQx+114E4DMtyVhyJfMECQoN9Hv2h4fBC8s5Nw7qXetHo9zjTnkMuWFVa7yauil9O6jAt/nvNQT+1JjzuELV04MZD/8cyj9MmKC34p8cDDD+0fuqC3pOp9OCFZDfd5flBRugYHCusjVlhB+jtD7HWzaT2wE+K+g2ReWlu/cN81JsIC660nIPOEPb3Zt5PcZMm8fU1PHg1HlsFi4ylYh55mSJG5oDRNY5uJ+jojyGS66c14qFdUV2xi1TOP6I05nKMlWTZWk9xp7BRBAI+Ga3RGPwlrSf8Zf5MKOpDETgtqpElQLeqQKM8aF2fpWCIqRrt1DbWpjW8FvQ0KF6JfXexM1gZCX0wQh/a+74GQlDwMx2B6DsMX9exYQxJrd+GzlGj+SOZCjCCoqCm+y8PXktUiHqKJv01iV9mfQQ9f6S0lMmd/oKWzxITM6K358Tozp2cClBqJ6G4+A08lMO0Hn8lZaAtYg3nNcNzSINMnKgtwuzy631Pt8gnJxcOx1P0uzW9+oOtmLxWyPzBGPxjN0CoHkJtHP2ySkIvUOkBaVBAVNQIOVydNXfYY00Q9BDtTBNaigB6zCMj4QIODKJrmUi1qKNvR09Yt7VV9bT16bV50ByuCz/cOLA554XFJMUSujBdsFe+WSgeP6bDpvRLDkNCnh2Nqrm1xJrGM9oKtzk1YsH+9kCB4tJiwd8fQcBiobRCq2IYPD6g9KCUS6V51Bw4STbAnGdEtS/6FDLAQWWSgZiaCPhyD86dJZpxs95Vg7d0PC95Q7gSkjnryRm3rlljGZdyxEZx+nk7J/XoJWoFpV7usJD3G0L3RqWUlOaa19jylz6GcvlNugdGCmuMzIU0IwlhybYvi+744sBtLwz+cYfYzWqaHRDpSXJzqJJ4C4F9D8l5ka9fLTLUG5p7qW/zCZ1ut0ftz2KqJ753KAkoR43jmQqCYj2U00mP1JiSQp9fLXC37Ax1dDJ1lXMdLOhbMSoRdNTNVzQdpteEXP60Q8jOpeyqOE6NqBUcPHXe3vnO04LxSYhDAFbvDgcyC2OiVPUgQjpwSmsCZ5ZDVygXfbURTzbMbSxEP0g/Az12n9IFTJ8vFRyoNPiRA2xUxH7F9fAERWtpdpDv8kNCMc3/yQbLh1zq41cMkDMzoiTMvS4ZpuiahHT4yKGdYBKk7IfKHWrreCG6CiWWTZpOKe1Sjliq6sFMTnjfuKWm2ehsBbpLpgA6x8Ntt3Y2URTmldLwpIdP1Br5ABsnuX4J/ABZSGvZAkz9L7awftEax9quOvUaVB91cW5qPtl+yj9piKbrbhqfahtvO8krqmAFDdbqsdGApHTOLFGRN6gtzlAiWdEH4J+AtuIyyCRj3FzR3ffgVEhDJktmqm2bPRpglYf4HUD0SQiGQDKA/AWCIVFKgrNXBYfzBkw3rQOtavHDuWOgIVRaCMP7yG8fznK20sWNcw2OD1zwRE2cClv9B6JQsUqO3EAO3CB/N4ehRvrHwBBX5NLEsebEQeYhJEtf42a8hB3e0el2bcFDlT2yNozN0vENgDExDkkksQ4bPYf4WGrxSZuvSCcuXAwW5wJfRhQ4ZqEvPK5PeKntMvcmRO1kmj9E39jxgFlI43rEKoaezGtYnp3ZOz+KmSXb2TqMrk6nxj0LGL8VQYo70CamYD9ut4mh6YNBqA06WCmEPDoDNmohg3tzI2lO9PUObDWZgIkYkflu0uOz1aVSL1UMGrZdpY7pGmWtKMSUK43j/czp1LcBmaAJ5+tZto6Nla8YiPCw24tTWBA5Q9daGtyavGgsekgjn9cRJ4RTcbcROVDd2BkWbznAmvLqrStZ6NFni0XUpdU8z/Hd2uA2kVJMKzkQUBZYNVuYojWXXEdwtZ0Ko7Ym4ZeydJ2DI08DAIm6+Loo8jvSdtgA4JLb8B66Xs5zwptgJQNDmvSTVYIjHq/KYNOJZ2qRprMAgeM32yewDmltMxRuX3N0Vu7WZ4Iu8OBpRYbA/DYIyplVSFkvwSTPcQTJ4E4PSpF7ZcT9LOh/C6bxfqpCO5QDWEKdT/YLMW7nC+xuhg4qtCaiAY8Ti5uOhChhiUxuEfZ/LajswWFuLqHqLNl5eqMEMFK8bfmkkRuW/bNBobOr9ENTkYr2/BrZgMenvGVlWZlYO7et8QUPB8agD11Rb2143hAvf2uMni78crcvb+e+XVe3vrwG6dAerwGfshKiP+PBGXhJbHRMqPnjzTGLrF8yp+/OpAJ0l9e44qLY4iwv1AoWRLCHE/Po8nwOA1o32SwQcI3zQeqM9T/WSCLfABUJ6Q5CFuEXHzK6UCc6XmEjRULigr+/krg3lUGudowAVJPz3LrWuYCLP5mnENOKIhE1CsRLz3CSHuC7Ui7iVre60n8AZYsTXxZxoJEFAqscHoH4rTXOwwr1HhsgGSSWr8MXxWPvieS2tT02REiiO0fAqoIphgPETd9cpqFbeYyxyglS4X/4kq9uVvslhURv55ohxBk2Ke7rMGcgDUnnLsBVzKtQR++PqE2YxMgGc5ohjqH1GtElQQsxMrbU9rz5L9hzJJ0yTb/egb7cSdSU2L4NpYq11oXEHpQ1pOENFl6IVR8+w/WiP1LhZ1HisQbpFPY4Dp7iO7xW9fzGlHk3Dk0cZxaPjzVc1J+JiR2Z8vSz43/HrmexgliCWoEBkKp/fMOfG+MSen4lsXZe11wX9F6xHrHxpWCcSRskxLfI3gL6kazhllNMou1MWCxnw1kWDJMoohXa8rn1Un9qsK/OPt9Wnnq4NacU+OAhV53lDwxlspEUl1iV5VtBUc7ejTdDzscF0jOKhFxzdgmKMzinRZbfzJJ6Aa+oJXZCzXtHffOTNxaW232fnHZi+fUvMm7hjzKzSFicL5dd4SK2wFVia1HSqWKPW1Xbj+/99MBjdn9jyUnx83L6l+DGAhBW6AbS7JKjolydBw3R0l2l3DsuJmVNxyFuilDDmJ27JS1eRniDSI1vWcah3lkdNGz2JzTWCZNMtI5JcvunmCyXo58t7PaRTUAWVYTtLICUqVCzYH4+N+J9sLpilu4mrFb9RTgvIdveHuBNBkvb9PuzkkLp00W0n1pNX7JueN5MpgOVcccldc+Ja9Fg/PhHGrMPb7NVRPAaaYQvjuBo0OEsJgN3JOTvhA6ahDtcqlOcNVUUywpQR+gx9eoc2PCS+fAvjCnGtSV21V3HSMOtoYqWwQ+f6Z4YpCjcC+frrydr6Ad7VUe9UOFzSkwKRfSO/enN1C0t02ez5WSRIrlZ5YhZvtpUF7wVLdx1OVZlcNGAp/+O+5s3/0DwbrWJvAbFOHJFO78vHLKam1mpUBQU/OTfMg2pWf1oON2dLRTAtRZH0MjticGA41nYLcSFvcXGllugs4Qa6zNbD0HgcWCb8E5gUkMhYtFndLKNGqppxZZ7b0vgd6PaFHOkzutDjl0/v6ypVmLUo8TPO3saK0dAjQCkBUd9fS7qixq9t/mQkjmwTBEWdFqudMG5g0SFv9YKdweVF5UFJaIyw8PyqOlP1lktjmBtKGFg0rSpnfh8BV8yI1mis+/FQRoJtB5SIAwqhxLuwTQDk35YGsW7pD1BaWENy+1j77kX+JAdkJj40jc73sb3e0YCfrgK9RfmrCm4teIXPeKH2gYW8uDkpYTf+nHtjMZjZ8LSaWgI8oHAEpI9JU+MA5VfivbZajdl2JmgxgF17mapkc80lzf349OX312ErMTQvnb2L6XGLaBWl+pVcBDHOxLi99RShQSNGlAVNuX9w6KyjrOYq9wR2e8IXQ8W0TuRrKxuQ+yFWzfjOwyV1EnHaFmXzYfilVSm/7U4gM55zCvVlZGcpowQ7YEgxyIaUSbOFTu6vJNbksg48PbxURHlPR++aGAyey2kwbMxm9kVDnch4kX2f2uyM+HI+BBmZ3xrGv6vUWg2Ez3UcNu8qB1EXyXXmxYPsyggbWcd8QNXQI0VORwOvMyOITNSeTyEw0M4gSPBGsqwtbQSYZiThYOkbwRJm8TzujfkA0p15QvwdNG8mqVUppKLQJi4KcYW+HcHZ6WLd1BVWPt9gNvs4QiJVVp7j2dg9+IO1pPU1MhZWWIcjaxDbT80eb63P2J9SUfrSCQytsVHQoFv28rm3QiQYQC636dKIdW9F3i2scZHfhet7Rpm0x6LYxmHSRA/mB4lHmFg8fZXovqui4ab3Ok1oj3Pc2+69lQoEIrNMEr3LkmIXOUmRLmSmBfGjJuAvLjxrPCrUeTi/JQGIod5yElvFCWJ3ZcADbbDMzL0FA0ICAaGAVzlwH8BEx+eL3c8VNmcyUXkBWc98Eg3d++kaTRiNPX/6h6FJoqVqgkxxzNOHCctn/5brz8edzJpnbETCI74ggJasjCN0ObwWpQ3g21njKnb3I+vtFN+8ErsA5Gum67EtZnDO/rdWiDbJ/ja4yA85Jsr4WKdg8cWN66+j4KAf1sYyayhOVQPIWg7M44oWfGQNV0R2Q2aFGrBK5UqEoQ5pvi4INbeuI0ecGmMTkbdzwmfHwnR391M/2dkSEqOacddAfArpDFAj/maAy5PbmCwcFSLZk8pbx/ouL4skT4FLjIjcyIik0s8mREOKMaONbLlvQnNaZorOKMnt45B/Zou96M/fGAN3PeKLhlfCriY6SViD4ieNTmGN8HJEKZsEqbp4r0++nHZkHtSHUbJTDII4w3SCBSdALQOlKbE3l94tHidWKPmKl8COpeJ6Sg1dAXaYjkSWCqdTPgKJ2F8xAKtejkp8rqHgpZblYxyb324x7+xvI/kx3t6v/KEJBT33SLk9WdJ+sh7s0+ZbRr7c8wC8TMk1A5allXUUQpZqUr/14AcnAim3aDgoG758Xco26Vj/WswCYsb/FC8ftM2lSm9WibFEmkdIeFgcsp0kVuME2bc4kcget0uufPhN1gIOISKpjLew3AiCadjZ70Sp81HeW3m5ktWeGbMwzI+BFSVq1O1t6a9Ax/loxffpls6vPqRi+bxX8Y+5tOq7sk4q0L1QJZj72fgXoUZNH0bQPNi1kRGNTkXvZ0oFOhO8JxwE4njKlTkHJEKu3+JU9sQ/In+QjWeSOtdtk/jl0s6k1tsVvD0aikYoBBoz/nybsVjh4KiqOgX1I+1cn5iiQWHJRdK5a+0vqaqndbZvfLtq2kAHyGKPMMAY7yVfeI9h3BwYCOItTOrkOwox5IPlgHcBEf1O7iFEvjKGecRxotAKBpXF0NukQExneOGsCql/XKAtn+gxXxz6C4HG7RzSP4RzYpF2WKVUseHYyyjcHIIE8pHj/OwlHjudT+bxfryjEVG+P2IDBX4iXBlsvomi/QtUC33nGkZ+om1YaSfY/KtLQj8HqmaIxG9AQitGzxY0vPCaouC1SURtKHzEahiA8GlTQTISjaB7Fd77jTu4wVjiiLzmDo3mzI9sGEh2aIlzKLPo6SI1J9s3FNkJ0qa8MbDZZZ/sF+AQGAQWDo0Sk3uQai4tnsudGUNVuiTt2bFSFM5eyoWoc5T8p8dpMYV9S/Hq9yRLoYPSkcjNR8EeCVxCBXNmSzfT+/gYf+4UpU5RXRmSTQKTujrJnolvZIfWhk2ZO0xzfc7gYWsZAX0XjzODxT+aJfmF7cq7TR6vKPVa3LGK2+DtR3y76Ff/0/DD/7g8RN5CnH+B8AinI+pM0HeFmMu5t2vspJ5brNJt6NpC+CxL8iBcm5BWMqA51wXywBRQUZTsaEcgoNypErkgjhTvyH5nJYdL1ZKPcjtnQb3yqiHNGOrBC771SEcjHjQaPGjkq4Ct1LY4e/iH2eZB5beMQTtLVqhTY98xX17DuWmIyYdK7sZs+8g2at2n9e8R8k7ASP5zod6WiClqNe/1/0x738nx110WlR0/yUR9G/G2SI7U+xh476mZmPX6byM24tpNbpTYFMdtfqFSzVZk5LxOT9bhu2uZa/j7hbob8JbVxteiE3ZB/2jlI1EQbpY8Lpc4MkeSascEqPRKEXYPWVPDa2Hk7rqtorAJ/armG2GPAPC6fW+8xgEytQwSmM6EcZgO09NzX26XDv38xkGe7Q17vZOwjV4CpUYfbHN7w1Jf7PyqBF+9IhvY3FswTQQqJ+QxKBszqzAnbCfhIaDpTiBCahc//pr1pNhUTFA+36srSb27IfCR7W+pfT1B3yadDUlDpJQHHB4yNhLAjjHnh1kpVMw+GgmfiDG/TFRQMpVCp+jD568qpToQ+pJzjqD7h93uvy+t/DBX8avNDx6WAzl8x5nhTnevV1iK9OjCIE1X7R/4o77qFTBxC15mcLJ4Ehgc/uUJc7UaZ3gS/rfvTHh50o9/0hvtLP/yO9nTWrpJ8Z1VjqOlpZmB0K4h+vT9Pf+cieBqSq0TqYoDInTM9sHbX7ZGSDstgjnpbNtMtLseLTdJFZ/SsQvmvZOsEJmu0pWTadOnzfaAyeR+ZFDlSjjeOmn6K9n0gkluUlB9VNwWY1wz8lixs14sJ3CrQxxPxDn5CNuveZt07YtGkIYvFXyH7nuZF4rYk/jAra9NGaSy3zJkZrRsaUTQ8Ykncf1Aio7uAmq/YVm+VLWSsdopzSHnXppgxJMZRRdSW2Fv7mxbOcAZigHGEyz/8Uijxb/n15qe+J96fz7BMz5DdvUFTPEEYwfwmF89J+h9xDNMS94rm3cR1kLOsX6ejX+toxIndXRmS3+7NrItnss6dawpVV4dyvuM3/W5AH8iSN6zMURs6BEfoAJJe4T/sLR4sp2actxwPpno0EP6Ip0dwum7xGL7iiG+utacPou350AlKYlBGpKfn/S33G7REsMIOrgFEPwyRf/vhe5I0X1xNumXnVJPVPg0c1WWbJZzHb4Wr7d9jpJsgxRANL1G77onj+KwVsRvAhL2h7aCz6MPCHG63ltB3M6UPHXiQzkPd+Nn+HFAd0OlMrbKTrsyWeAidZcvyUJoR7YtJ9DhN35B3vef/VOdyqDTU+6XzMAqSn6Q1SkCF9D+efqGyDUFeXgKzGhYIJz5XHhws3Oy9ebQ2plmonYUshq2eVqqctjylu5U83Uj/waKRVS54Od2fUhZoJT2y5OXlrEvRNz8FeFndOCnCoHggxYv+2tpmKuOE0ZwF1FWNebVCndTQZ3copHyzUCjHABX5x5Kq6L6YvVaz8w+7v8S/su4UIYa9ZEG8xSBkItvgQTPcHvFyF1hyVyZoFevvEJvoPKcXZyuRMsavOa+PKozNaB7PiExVKzYa90MweN3uAsb6RRKjuOg/oP1Mi2CNN2UgM6b9/DAQmVScrnJqLrej7ZlQPV16Hh5wl+4rF0PEBttqZ1taH/SvE9lL3mUZJpyNcDVYeF8wkwQMZqWXQYSFMC84KPW+Jm10P7bSX0vDm8eik9UkAPhFZnbyX6hw03cVjEm8w/pwgoajrKQKYk4svDEtqJ2FoM5lhX2G9Ud1/7S2Mqp9rpPI1iZ4JXQZAP3kFxbppXEWO/gsEMvNXclb1CHg9Z/fXJOsy65j5xzp9+jECtlINEmufE8qg5nDeqVtAmsZmxn2GPB9JmvW1tyhFEzVcjy9Lq5dN2epsEYUch697Nhm66j3f5hB2BX4t1FFZFmYpmBca5ROwbF9l5ExojijOUrjZ+1UBKJxUupk+Nd5yhHXmFgpETSkMXV8zrD3AjCOG1IqXzCfub5PT+UullbZ6KITQ5wokZKlIW3oMTE7KY6iJ38IY4gGAwwiNS3R6M8dZOykMxjTKjbPzQqidPzOxq+6a5KDYrThvW3uQKg4buAWTerxlEIXmTsQp8vcLnvk2DtN7TLsCcV1BpwAkdP9QAS5hi1c36aD4GYWklHuGOxlCaO7sZ6pRr/lPGhZMv/sjFv1FABcwRKG9m/L7il0p9u1qN6BymUgDyrpe3ZRoo4Wdobmt/2aXF2g/7GAaOvTAWalESZPfQgT2AudoYrOs3nBK9RJ+nbBSHkaZtd2c8hgRFoY9YMzY7tddf2mrbRVi0oxGEgEZbVmX7RUSgyVr2MHTR9ba9fQKHGKf4T9GiUG/lbIN/iJIxa3I/BudKsPMM3och5AfvsAGKlH5VhuFyHRs8Oi97AhawGx4V4j/XspOzWUw1QVfGICzSlSoB0/g9Ee8LYRIk2zOA4IlBqztq0m2MVe18RhOD1h5KBT19NCcy0fqzld3Y/dqG8pLK/mf2XGMUVB6Y105WCSUVDdk2kNARbdV6uCsUr8y8reVHFEjHq2QpNqy1RwLtoDMCC9G6pIJ6hZx1CmAWxsxNgGnbie0eTLo0CNufua2TihiAIyTb9CLDgLlpVmKnjS75aKJqTYV+N54qowWpVouV66AAqLB2GqVpwzV6ysj2DmJd8puaC1oISKoSBxiZCN3xQiixBXWYyQkeVbVL5TFVbNjbY7Hq6TBehZolao2cRZrX/0FGkyo7s2s90kVxAIqfTwJLLwW9Lb1bUAzuLoAzVFAtKsh7A4oKfpZEbuovqBSrrgAgw1V2vp0wLy48qkUrVF7oSsp3cUGEsprhRqXaBzO2B3xrw96y6IC6cwN5yyAu2WhqRS6q3pMmy/Q9q0hOGIdx9Bu8J4fr/U6Q8foxDEXok4AWDvqdEeWg0PCPBheG9WnPhrvEz587+M1WSFvfhedTnl5ybkirdVbAcxPE3FDY5oRvxDTXDXjqsLFosXwDkZAnI7gxmbo6drz0vAE5Qx0WZT4juewsspvBTfReYNWTDfn8JksX9ZveMj89DJxy0gik4Iqy4XSPn5XmOaJmNzA0Fw+IKOjZdfB0LpQkdMx3S0mgtDf/W1jjKxfZ3xSbhb/poJ4gxBfLXnZBnTGU41IuOeJSoD3aDtn/aClQRZp5llCLwSfUC8HdfJHHvj0Vp47gvWTssyTS6xQqB3CAo63/5xEEmKnb06kBEik/jA+GcPiTi6aj0ALmFO4FeahBHqz1P48nQkudgZAxrFwy47PunzkHX2XvI7xTOaaju5u8GHCYLTJ1mj79ZKwsQKPMI+jcFyA8j5K3Y+x98dtQdGT5nixQ3/v+ZfWlIDJkNJhKdhKtVdO1tE5pxT7rpSq6uHHQWDOyKXi5mWFI8anYm7ffD1PV66ij6GeybEAE30Dkg8BL+AAhYVcTVExwSYC5nl+SPRkVfskbmGPTHwNUpXbrC+/edgnMn2f2J+YBUV+GxEbeXbLOYletZ4R9RMyJF31ZVvPG5nrtZo48eZLfeRA3s4nAPR+cxTu/ewEXqrMuhwhm2/YOC9N5SovQSBeD7UpqoKeKFdmsT/rqNOA3AAE9nN4I7YPEQYzYpyQBZ+fhDyDPHjtcL0bHCtmovpLN//DBkfgUV32hBgYfpGxfbb7F6ZVH5O/OaZ7UaKXd3uJWe8BSOeqn5zlQm4FA/D/ti77ckH8R5ezLY00J9Hx8eDZMogG8vmCJZXRTelzdPpVOr0dzgRtiOjnUpeiF/XQptUpnTn2vhd8HMGdBfzvVeQRgZ2tFrWUtzfstjhGi8pU0XlT01FlKoPI/xEVyAM/DrllaYoqJue8eS/POZynoJqLmSorKhHjIAInJFdq0g6DN+e7blBlHvM56jQfo/V3E+0pMsKJeTg3hadyrwiXGZ2W4c+IqNC7IV/Hsa0U8svfvTmpe0S1/tSD7XtBrX/YT/brWPq+vYOFTawD7MItY71Zf3t9/2vruU0FaOjIZ7UVQIbyWhR7eRnjR32swV1W8UBylytyJUjHjOPv4NEpcjpLwzbzuPxQ6dKL6097LqKF4S5V9GrpYNQK3D8104JhRRRSc4yD61zQyVaG8PxaHBst8ZRUGrphsxGY3bmvxFUdr0HKvWP0F9i8T+X3UbqSHRsT+9R0Ab+yp6P+cSNQw9CYqQEDtoU/zRKrqCLyaGccGXj8PWfoXnD9Y2yOVk5X4OKVGUfApAa/Vt+fpDvRf3UG9Ml22+Bx0op7EF0aKFv5V+lK6HRyzoc7R6oVDVshlMURmjBDwpsWSZ7nt2Cv/ic5vnUtL6Ycfs3EXjQ5gRr+TWNz8itgPxWjvSNdDcgFsJ8i4KCixa+g3AMiJxIgmWxAWrstedccKBDrwHCVXSPM+w7lNNek/0lfdbJNBk1iZjL0P5z3wF8ZFInJXlgFC7m8ghBlvYJcCLSQWD34QUNZgpWODjjsC/rfxt8nr8fDBZlDtCl0TTL2QfsMrs/fBBa/kYD9HG3wCLkCmJPi7p81T6RxnX1WpZGomIVpT7gIMHK/bv3v66R/eKcqniIzKPNajR0skCGUqmtNnKNTuU8QmVqFVTjmXCw28eWMoyXy/4CBM/pcKrLkQvrSSVb0BDCxOV1+JoI6lcscp/W9pp3uK+CRpga9Oks8kQ4PWBLSAFwaMRRr0nz7r2DFCtKWPomLdcOh0hk+Y4FMoe21UfT/ci62dXBhE7fYOQj6jEa4F9bWHsNYJoMaVYjeuffDtKRAVITzsCMcTlSjNP4vHdfobbOSLv5duSwuO8tE/KG4xAnzNOCWYw4YNJbD5WvwwHo8iE/rCJIZd5Kjs/6Tg3JlpwYYLOqlEvB4sytDtX3mOADyd1x0TSf3sctkynCLpO4/MFzZWcGEyoG4EGhYvOVnEWC7xuKDrz+kWDYy1I5OCrb6TsmbByECtxczk6OlZaiQveohy5jnypyHLM9aTwFP5ETcpgs0ZQF6v5hA7DVZh5I22wl5PTWRBocRuHEBDdOGH5/1GmTD8T1dLELJujYe5sKXYywNDDrOT/ssPPPtRTgDDzA7yluy7ub7V4NRXaGw/1L0F05RIUauBWjBOhfD/bDBM8FPfrwi9AEJozEmFLrbM9ED1+KJ+kLnRXgIPrnYVsPCQ4z0vcUNkRYRHEGe5qMxrAWngKrN+mIgL8FJ+EFNQQenst7nOtxir37o4fpQvPCmO5E9yR5+JP9Sx+l7+1mVWupsg/FX027sBtp5vUyX8/9hzCH8qTIJ/qsO3kZP3pggaXiXo2y4qJjWLGn8JHEP1e0pEpWrtoFmskctRM6bbTQmzMLcEGAyNLk+95zThOik/HZNC6evQo6CpxXvcOr9zdOyj8cYVUPOblgfnCFMsb40U06F8bECxmekhIf7MQWon0gt+7c0IaX83vd2qNxHKZvELyFCObdhsFKSZdJTNDlXVXlVgwVpxzxJWImio7uMuZTlHyye5vninooomg6kWVIK26plt4McHds/3z3RFWtd9L2RAQmwmYPTgZJ8+zkgGM7jMdGaPkrNQEKanLyjZlk7LZe1VVXsGwVZQJTjvQGsAZfvtJj6mNYYwpktHdZfqA25apzERWCEjy0axNgxA+w7fqvbnCF0r8NsiByu+TiIDMUk+iheYLskHo0VwT1h6EuF2GVREYTMKAmxauCeiYpXZVhtOYi51CEyZJOTZ8m/AyY8MxCEHLIrhlxT6npmI/gapdH6XadYHNMZcaWpB5+E53pAR7K78X5bPyhFTfzBCbLhlRvjw6V9w7cwt0Cg/8znh2RvW8u84fFir+K7+iheBCzxzgMV9OzduK2uAuhebuh3H6jhsBLUzUe8ufZKGzexHyMHCZGFIiuGMZiKa/IT3scXURi/U6xHqpd1NpZZamb2fvbIMl+JsZbWj0jqM6/gjvBP7utnqw3yQfYs9efDWQLLMcyhj/A0Yy2DX6K1khj0wYZ3Wx3hYUpOe/UpvfgkXirn2qq1LdbE20cjYWAyJ6wnmMbEgYZXkSu9sXBSPGYighFpU1e3K6TZraSItZunsgDd1FwfwFPzCjpVcvLrWo2scgHyMKoeK0KbSu+b5n8/PsETHSQX7WZxtGQgDPLBUAFPQegZtQifHGWb2aR5sH5DsRR2A6SjRcDA7BfJcBo166GOpG7WEC5/knPQ9E5o0TKp+dEJVrOk8327JGZAEMBauwSDA/zEdEc1aYuz5JC7rRZVeD/lu4kmLZbkM/QZesqFn1trgO4RUXtZVgt+6/a8fh0qqBlHSfo298snGwJNOoW8f3jmDNGYk7MpzM97b1B/QrIL2gDK5PI3a7OnGOP0SxeqlA4vNtWPWafFIP4/MqWHhZ8MrFs3CBJIvZ7KImjqhFRppmkCTewClc5FbyLNZukub5vp4mlec08S786dVjDSemHYPkCr+3PuUdSIdkeBJ/xXRRDfhbojuhxG91CPicywCGwXSzaoB6Xdf/duw/Xv+CdLUYqr3gUusA7P0FMSuhI96T8l3Yll0iB4EO+SNkift9VJMN0VdiPP02kNxgX4ig1OtmMkh2Lh0zs4RokGnkhLxkC7uTayYmVi/KIh1+ojzSWqTZohnyeww1xCXaJzkyVKdIldvRdA+6FT/pyBwEjCCue2CuKPMURo71wCyU4nMqhl28tOhS8depKRBwONX38jtus6owc5TlBheGKpn3UKHsRQZzrhMT/Jn+ZasWNTGTnRIX3XY76BdOP3VA2MN+4oH1pejILfIimE7TW1wavsClQsHrAU6/AMXRbnNXg103dOvzZ5KVXcvmSplHhFa+Bl/6L5u8YV/iO05hvW5DHuyx+09wZiggtTqiDNXeovVIhP3/X2zMKHNC7YP8UHJRXrtBpOsmyIPdJgbG5xJl+slasKM3rdxE5ECgDnqFW9TOEj4vPKVOP3CCAkeKGkqeJiS+bdeyQgm6NV0quOK42aeZ+k6XLk/XvFLYSyVVGGJjpUJ8eZJhM14oDZnsYYxwoP58OD4OatUyYhENj1zjIdXX8AZCVhH/q6sE/UOzIoQxKq/jyqS7ir/2VE1uqE1BQfHtlvzibMA3bgZEVM4MPQI2acCa8rSLj7rRVLx1QjY8DQ/BXEz3UTvIrwWnXzmLrTrCP2/gTIiBJsAQFoSECD9op9Tq1ltcsSZa3RPy8a3DqR1m3biwhrDNmjGy7SvzLL5OU/BGsTIwp7a1VKNSL6PXzhLHs/8EEh6XG8wyYcLT6Ptiq1VaGPTYn7dTkb4Q5bj1fhlhpZLPoO+OwLpS8fu2XJWU5m4b+sn/Dymjp2z/f8ptp1B2dBhv6jGbdjx+KShop/IufAtHz3xuoJAHL2U15Qi/44nW5nAPR9QyVNLALAVvQNKcUO8gLZ9n9xtCX2YHOQThu0hLkOA7BS3HuLBUeSLIdwA8RW79e2WxxNcsz39OlePXf0EBGmu4NAKH821rPyvaDGZJzmmcF/tNZeNiQ3n9LwaMG3cMAS58G3c5Qmcw8kMZSJveD3mfntwXLVHWfWwEtF0uxiWChABTXxpAkBBfuk41BdM15TfFBugLjIQzVwOq1L6hZswJyBuLiZneKAhbKqTZdNB/mia8RXjkBy7PF+65/8+8DZugUk0+ZnsQYFA88eBHAG1rgc5qAMtK/EM0BlVQubeXg/FcGlCMo1zyg1isaxpwDzsXSDceamQ7YPnqZucBNVLrJmiQPTPr2mk/BIfpa2W0e6e14TtA3y/i6/wBuP3kcGVLd9IjXOj6abuYxcV1eynE5BIzcqSgA8EyS6GESugt6DqGuX3OdonaTTWJAHuFAvHkPxXONIM2DxnWR2DiUNXV7iApcnlmCuei5tHP2xz5H6EI8U1q5nXUlKQgw3ceKA/DnOCQq2xiJcc1mghzZrHoVLjHxwoDz3/ngHYkttgTK3EGIOdvOA6RUBalrri+QQ2y0P6PSB8dJHL46pOjvemhNHEdaiDv1nkq13wbHFO+d3tyL8nZRBOpSWyQIWbVO4JqU6xLyYReev0p87+6G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688681" y="838200"/>
            <a:ext cx="4284821" cy="2618740"/>
          </a:xfrm>
          <a:prstGeom prst="rect">
            <a:avLst/>
          </a:prstGeom>
          <a:blipFill>
            <a:blip r:embed="rId7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a/oXf5nEOUIpDbBiyeHXG3yyZuMsxIKBbqB53CCwCPVfFVN389xat3fZHkRAMai9zQkM4gEHnNqX7Nm5E0u69KXktBC3UBmZbmmjR9+xIXw7PVmupDuCQW9Yzf9VmtGfFG3nrjB8hgq88gGry/EcxuwKJ8GD7gQ+wzw/pAePKY9YAGesuffCPcsTlpM8LdBAP9Do0X9iJhaSww5h+nnTZC0dXf9r+nlc+pBeV+cl93VQ/TtEPcdKJ97JXwsJ63vdc89e7+p+mZXolKq16pZh8RbCT8E1msZK8BadJXEJ7qJpOvW02ZVgWVcRmphVzCtDhnqNka1XSnviB905mHp5GGBn2qWQphYOIe/K6IIZwan2+B48fqc3NYVHc+XAtekohkbvu4Ub7v2mzgHbkPoz08y9Hz1mz0L0WZFwz6LHsoumnlGQrADl9d5RclNS+VJA6mhDDxeI0/gFHoMeICohfp9BbMMbPGalIzpyXwpoy3ObMckNGHlVjRwQUPZ2+ANsHbcZFQPsB5EuDIb24T0Nih/As1CruzgVkIP1SBKD+vnFnj6xzpWsllJCi5F4bcCJK6m6rBr6LRrw5cWsEh9CaM347RDCp44mU/ejCj/FCWq4BKLaO2aU0Ei9k+mFXUkLHvzfchdGxHbXD1IoxRTM0K/NvkR5rSdCICZjexDa4O5RNtT5w5dG4ILpaFJrwCTwp8aB53SI5/PhQEnH706m7xBAo2g4XU58jz+Q0H57+XQFfF5IoW2nmFfrZ4bZFnhUS+glRSuTQbCLQ69wdfMmXH7kBv1L+O8hPvD3otu1qG4/C6FN++kAJslKPN8mmFFdlRCI1Hm8+eBNMc2C119Y2Ct9KliKQsGJE8r/3KGD5A3SId1/Sjc1S9Us/Xvri7jiSUkTbkR/5U2rS9EAV53zKJf6agN186oFjzCxJhuewYTsye2K1bDbSFl90jQCrneuv3m2o5KWSlHc2pJVRAso7pVNn0zAVHhkm6vtNgvqUuIp/n/vcWN1sMM0v+kUpCnOA9b1WFe/NIZFSiHs2y8JyPwzP6I2/owlOVD90Acor1+JuSEPIt7DCvFg3te4xDxCKCOQ5J+OGv9yA/Rh74URAzWYt9Il8DcOYSrSKXbTcD1aytQy411Kq3cf8S1reWFARfm6sKbKpLY87DnqDn+MxdYeKVGtODuei/DT5P3qfEjGr2yyRiue+BatcZ6Y/MHc70c3RAWBme7TTpgkuPb89hAxydz0BcFRRntj//WBWMgap8qlNMxmvfxAdStj1VvXEEOWDfqFm4/REoo1mj/kIM8uyyygKZ6TSA6UmwvBDn1d2WCPa2ENlEOCgEcZskPmsOgSZskYiJRvO1r4QfOwfUvXrvBJQGINnrdYmKdqG/gYIjuZWqr8gnWNqD+Ndn7/z2vG8CyCSsxR8ZM3aaMUKiZ/DcpwPgoGGDr/Gp1rSauTs3QDR+JCmuw7BtlAZo9V+wLGX7XdIYzLAkvN0J829IwUfXu8pGGLhhWxCFDHgACEPf87oUdG+Kk68YNiQkhnfZJx4UekDR/ll78LNPHYNXZWAgcdTwpxOjzdJF0WDURfIIvJIwmk0sUbs/eiHm3JFgk6ruhrxTosG6QMFQsKDVaVfHnKv9CulRi0e747wKyktew0KHPwv0FNL3QphIFGBV4h+zmPRSAbTYnP8x//ET7yhYf7DZjJq/xSerwSgbuXREHj7zYiJ/SNChqflkmWiAdoBd+koqshqOqC6emFshG51ZiKwaHtU8VJArSK8qc+hJGUpxRGAfy2EI7PpajEAFHT6s0P1rGanpA0FXwdMxc3uyg9eay6rqFCF1aIi1KB4msMzcIBJYkXJZ9053hKLWuc5O2s5XD2ngFtoRVf/5JDkHGIAEroJJSnBYp5L/1EctSXh8DE2q9Eni1pQn8YzsovmRfWLoXfKwa4TxS0evU12wqYApwVXLxAnuxbhlcCfSYJG9tg2gITwp+AwdeGEEdtr4mI4OS0OoPfkagGBxiKdO8t1B7OyjZqRR+h4tmDJmeeaMcJ2DJTtJinp4rqxEl4wiExdySqaNCU3Ea1N3MZ0NGOrJbxmSMhJTAQ+75e0SO+77JKdkfI7peuaqJhlLQaGcGXCZkxN5zYtmLksCdJBs1d1KO4LqJJspJNd9VBy13ICRGbcvJntJqXDbOgwLwIjtLq719oQ7zmTw0j9B7E3WcZhZW2GP/f+URa/JBbPEnE1p9nGggnN+wFNhW9svWzp2417wF1omcd4mT8G3tbYFZnU8POlnouFIlKb0BXqjZX/6V6cdMd29Dt56iR2QQuASwOQTZy49kKndUrV+PEadk8l3nJ8d+jCV32R1T/Pkp9PLsqJBCeeTt47lcBe1N+yO2urmWrfuC9XvSs/HaaiH2yOus7OW+pkZpj0HizpszkukwH8zzOTT3sYWFU+XTOUbjSvz9eOesYkkbzg7TuHq+A1IJprovnkc1jdKFV2IlbIjI8WkgV3OZjLDrRRFGCQT11E/ar206IK3NYnpIvTAsufGgGfhZRbrwzsYxcVoGoU9h4C2jtjPYnbxLkUoEo/7eSne6QgPOyWaYHcEjou2UlalHGfT64jqHUrTMxFaXLLmN9Rrf3NSerVp5t0REZTSUqcYfB8CyIhyL/SLvPHk264iOzg9/+brCyTkzGVynInPPZSMSgnP6Otr3a3ul8beGsw+Erpnr7yqvHcP86WkasUI4BIxQRThY89lkbKr7cfF7YJ6t1WT4MOkwHSbEbfkciWA6GOyYZxlYYyDbygehqBnCvLg0wKH5htW0kqkF4sRsyiRvNko+lG0JZ6PkAYbAPmRMxgT9sl7vSyjqTMvcz83PGF98d9QZHRBSUWrdYvIlkJ3IwH7nsIcT3piP07r8aF9Q4tHOwj3Rc3KKmB+ClhtuAbMTZbm7H0Eq/iddg/xnKWPbho5qxyivqXmeZEg4KEWna/Bpkyt1Wk3oTr5SxgZK6YZNpy+JPrgJTrVbjoR791PkVO/NirthrBQgr8yHC8t/NZpp7xkrlT1DMSMjok7XHViDgCeaCtkESBeqFck1QNAfeotqzVbPbzHxJtCgNo1tuxB3YFrhPUuY9NpGLragDw8JD+j0uQHAGScE8bicw4iL0x95SeVAfR0itLhzAeNwXCPzS3Vt5aa4WQumuAMMAujZq/KhiwbACM35WfWtgGwEwl+1oQttepxt/CsiqfaZFcESBXXLNR8M3czMhHEec9DiGWWy6G9cd9IjRqJIiUp32qlKkuzpcFnNqDfKAB2edGmOS0s++4tzdqySq8+MXakZWvAdZfTNEdQv9nD16vyv00SlI0lJoU0JhHc4D4GmHSy4h60sdeUUp2VxGgElTMqIp9mz2kK6EdPkuTygOMYQZMbue9YLrZxNS7veV/9GSLn3uBDQZYjjA73sF5iTZZvj/DvkRNIv7EfOa4vRtfKjzf/2YcpFoIMkgzLNFNcJPWkXolCly+GbUZB8ZT7iDZ4211PZ2pftm67Q2N1YKz/X4YvEWrlt4QlCsshIu4rqycxoRtRYmC+PoMLCm4INoRmxN1tOEGfeSmGo46t7RdPBOs+Exbki8eLYZvnmAVxuRA9A3EXp/8IMbM8rdL8MHIqI37Puo0B/HlSM9Ax+fV35CRbCm9k1LbkjumTaWcyEc5leeNiRqEthwsOw6cOz8RtuMPCH2dWR5IgdhVuqm/Qv2/oCMNQENhUw7xRgBcWngAiBgXlKMNYmVMY4hQzjrfC+a2fgEKIl89iQxR6zE1bAmMQ612RQAXLdDr8sfy9P0MssUtPJkftGZKQBesaqsNTHzSihCQpoFUxQpV/I16Ga3c61BaUyOE9OS0TaabuUZyWe6Z/SMn+NXvnD+ygoCbY6za/dFsSQIzBuhfPpnphiw5v7aE/VZQy9mpagUm6ETO5WbvJ37EEg+t9I5rx31/SY5/u/kiAt46GyNidELezhI4iFOow55acbYfNRnMyYUEkxd3O1uTBZtLXS8exEKX8BGFoD99l5FPvlAMxUGznZvFm0g6iPZfnCI8PNn1BaM/Ef/zmBTzNpwOQpjVIVMPXjMUAF+V1DcKcGOwm4mZIwa7Z8xHR2kSngzxDK5eyCSbx2LOZE31Y6ubgoNqv4M+yrf+lbi8Q14GpNP+YmhDvpr6vzozaqQL0bygpPibqqUljmEZGZ1S49iZYb6IYFg2SIUckJefvtWeLp2TiAFMGTfX63VKiFmZ9F0XSLbOC17VZE5ZvSEbAEavzoihgPuNveuVF3xyH+nH8ClRE1tS5wnpEef2D8R3OBe++SxciVIiZ2YP+EFBY3FCG/S2M1N4x7LEfGWCvK48vAnl4sMtruItkiBVCvrzRqC68J4DtrWXBGctg74C3E8ZWGssOX54QL20wbP3g292nd5gJxlt6ZjywQySCtzNeRFs1BdoHIKEEg0/bFz9wDqEBk4onpiDw4KndSzziapK5xngntrveyr3OjFY+DZ1GPy3aCmUI0pXum+zAIPg+aXQBaD4bhoHMmxgL88hhyCs1HjZ5BwaVjiDOjXWKli8KYquATI6XPrBWLDAyS6S7STaBAitdcU9vivhAZTOV1bejZRBGiiC9CJnSmSUSK6mOEzsv3jOLDFV80vIt8xii9uYtQMuzrDH5rCGr9mahbVEuM1k35x8BTT6HzziyuaX7ZrdapAbK1nKWiMlyPTik2Q8rczu+7ESFyL9eR1phzaSkDq2l26tY3x7ia5VwN58pY6MEffQDlERC21G7JZ8GfUIA+SaPcPF95+wH4hf5f7oHnwOSvtQxBR2xQEMAB3ZwGKWD/q1l0Wj23NDo7NZqYp7R98yjDPJQwhhUZ2JsoXLKRm8Yw9rR6HoRqol2onju9n7c0x89sFLvfoEJU65fccjqSLFnI71WpQcn7BCVoV+knpHWvJnYliOq8lcoWv734oR+8WrRCm4JJ8iooF+8pHHvpV5ZhLRXrY6zgJz9RtSRu4fYaB6ZMz3KEAqYTbphD/flmtykpRuNrjKGzhz+9dCOPcQM0hFkZ4HXIjTs6y4mcFNhyC60ux6MvkUIVvt8oZC2zsREcZ6cb88g0cml0Yt00mImzPYBJYsS5DyM0C3Jdutb9LIYxN3XwcJIOvnRjh76xGO2hcgv/i0pbVhmO3KPBhZqUK9dWWeKhiFR8HzZxqJeh4ECyRBlew61CIxT2cbplOsmTDrCxMmouhXhHv99a4wbXHrZhEwEUagRMVhbTEW47Zg3XXArNF0ZUbWSD1D9WX8BmYv24VYjpszIngjrF6raYPshsR8/OE8m1ImNl4Y5jTiZR56eiWPQfXUgVA8cm8xFzMwWCxvzHJpzuNVC4hKCkOq4sfOY6ifYu5HTtFSibBTE9R71FkrHofVsP1Ozx1EDWgScLf2v+x8Ib3KaInlZQqqujkbXaPbzoLE/LrdFAeZIITyvGSa63qj3oXb36Y4h9ylz1/cGy8NKSDESXxjXVkPGb9bVgRXi4xT8rjW5eirIEbIscDam+u9V+OOLYddkEKeBM3dPUjPnNz+4vcKMndAaf84pnD6zIOT0JRNVDaEYQmWM8uTh6v/fKvSu3GCRIWvffSJyGxozpM97wl/ipBmbR2Kr26EdLhVmWg0o4NQIAVmoqHmXVpi2fcq6dX0cOoeFcAaBCFnebGqWuA/W+X4N+1O5Chsqcvxpk+myJx/lImIpXtSsmwEwR2H0lqitYwSBLGa8JGUtMpHKv9pSCg87w3ljZyPFT+juul38JvDt56cciPyGs8gckkNBo+2TzL9GFruDH28qkfiAtXrB/MIgRs8gHaRiCrcx2769pR7tkyFebBVjwRUnU6egQCPu4tdkfy/ipXguj2HJ0aJyRU2ZCVXG7+k6F4KiiFpG3iFIRCddakElXXBgjFohWQqcMOhRA8q5fIJ0jkqparH7JLcCaZG8Fo37t4pXhXAPkpJpFptWuEwbhk5dQ2L1ii805dI/U04pCD4NRCVVrxWtGTfMcujjoN6SlAzOObAt/vrLmXOyp2vO/AMX63dU4kFFVT3emZ2yS2QyfmypRjSr4+AwmKAYsuNpe8i71ybQoje9CXJoh6hhttAOHpMgt+uR8OfQPY6NMbPb4svQ1kJJcaHeSh+FwtUpHlf98NCQcSJawqNQpG+6eN2LlU6y2ibFGZfRbUY67oGsdN7eXYt3z+cHdgcZFYAmL5Wm4UeNBfdaA957Xog05KCo4jtkorjjL1tTzweNw/LbMyzDEkq/VQ6A+8iXLjBMOkQ2cnCZ1gbF04IwtxHLVPBoX2qXdw5WqXS3ZabLvFTnfTu8z4BPviYmuU6ffRvMoPoEkbMI2V+cFqAvKGJZPHWqDO3Ql1w88QZ2wFSas5XbSML3KiDZOg0qKE8Q5BZwcggn4HPjUzCFD8ok9qSn1YNBa/XDKE0o1WnmQGgLzIwUQbDcxPCspoxRue3EEoyfkVk3ZmckvFdexRqNvh3wjejyt99Ov2FSLi6cIKhzpQ7YOrpDDGq4zMSHUrYaxm4qGpQTOf7dTj6na+UKUHOWe4wjxZxE2x3o+0edz85bQd9PYBGBHgsxnRSwzzWR/40rDVNlxNhhVwVH6iR3Udj3x48i1gfVU5B16Bq6MvmVUofK6n5HGFQXtXj5EGwtBnZUeBIyqY/b/iMfNAajB4q0FRftI82/MlhykI8m4Ljkx/zn6iyX3+0c4e0m/G8t2QTv82RQ+1QP7zNWxurDkZAe8nHHTXvE07DzQR/vePWgtdrCBRUc9wDmMOHGCVw+CaX9m6y0cO5/0AnjmZzSzCKo/eVLIyJ8+MbnzTXR5FFZxT6KDooFrIXBUIH/hQ3OXEdH65kqf/oiSOj2XRaNFyrzwJGTdB70ixSxoH7bv0hzNYDwdq0YAad6zCsBCi7b02tr/rVrTLh7++HrV9joeHQhFndoVUwjg8O1MOCJLbnrT/C0OPhfoWvGyQrL8C63Yv8P4fG9IXCiHIqm9scUGsTsv6cT1NvO9S67pB6Ovo27xAVgenfzHreHetXUyg30tAup9E911R57GUTnsxOcuQ0N8sYD46zdXgSrkqwdp4sFTk/JuJQik032w1Gpd41F+ng0HCgM3vaSn/kYUlYSHcd+BDNwm3dIOGf2jxMg9rOvKqbsXOT0rb980KgEzErj2HSNGGyKN7FmjwR4A/3ngsv2ri1fldHGQTqCMkfhfxbpt3fVUlX8WX72zwCKKeoZfrfP7cEWmd+5dW7beOo6nIHL+oVHuSDhElO6F/wncmhcCguGccP8G37fWPnlXjfIuvz0ijmDXIqCPlEY6y84vS/lcHH7k5rOnKyIi3n3tt45WX0BGJgG3lViK81kqlOEcrNyIIFqoATZDI8QuSIy4u7Xylu8RGJbpdDddZmyys3b4efZ6sGb9v93jMXzmHKv3Eo6FyuuC4GZ9mfFE4EKScUlQIMCaIMPuPaqpVgOooWYE3i7T10etxuDe+ejn6xyiP+dRVswMcOANrn3QsHa0X3OwMzOKHeeh7a661Mh9PM+UFzFylIjRjMfwDHHGif27nhqOxNPkXlA+sDP7OYkZweR6Oci15OLtwvK+PuW+s376P+iI1RB4EKwJsf/D4fqBfINNESUxZrvJQtk6bpp+OVqNAWB9ynh6WKeCfZu3Z6dyjcjj2U0Ca14oGA+07RvwRNHlX69MG0c7IdA56LmqfecQx2pnpGG+bbO+yHOWKMDej/yoDjyPxX6tMKJuXQCv+jF520/0fEsGu61MFhnOC+zHaz9KQ3Q+5K8vMhZGIVB05G+CjPDeyyKLteC08G058k2L9h3MsWChlVsdH/xiQhnaMo0HR87O42Dw8YB9wLqvSWf0r/eYUMB1Rwd1LwTZ7JFzdQZ3eYLerJCp1a+L0Xgm67JeA3XcsQVw6qE+JCIV5vCYPKhjuwgNySkQYZJP5u4sd2/xxyLhkA53Kn+Fc0uYsUw2xvIJv5CJFhdI5OjOJhwCp6B9yH0FmubLxeUT93hVuQq68pePbBBdfl1JBdGyl6+/pkxSYqg4sCAPlr6I0W27UVF/4+o9+WdxRmTCG7dmPMHFHi0Gp2B7x2ZC+sPqV0h1v2Jv8/9vaHEux337+hhyrdNmNPrcKMawA5PB38EGGZxhxQrh011f7/Yab61OTS1wlO8nPS8lZSwkTPQtOk9AG2xBYptaKwod1Jm8yOdDnNZ1a0aqfocYy0d0PK/FAT7IuU6yHqjdlNf4Mh0/6+E5ldWFqIBpxQ6DPmmPCSzHh0TS0UH0F8ajkhD58yVcDTqmnSlRWiNRmmimBE1Mt3DHxnYxGVUnJvhKjRUunWOov8zwYqGJm9zJqFOdKUPz/rgBxbPhChi8fiRn8Xfi0TTm2JGpXnShYzDyliNxGL/41uq5Izz2e6zErLGUvNW4r51UKM2YiWaCUiKtuNUb2v1B1sg3CcTYfs4IhrYY6VjfTOvr06qQesi4Rf+1Ld1TRNxzPzCffMMp9FzvHmwuy4dQ7RRbXGpi3wyeoW7/Qgt+jX8CPDr0IOyMJ1dKukVg79c4kJ6StqF9hoYcxcniHcs/D+0NlY5TxOnxo4DKu2dtNiPy4MPHlERT/+7Ll/UhbiRknPl8WICC1lFg15FHgxwbkcKcHhhZ1aZwOoIEpCOlLKJckTAf7wXsYPdnSmFdc0L3oR0j/OgGvPtujsmLrZ6veH/+6jq5kYJbQcxrWRhkHbKl0zVCssMUDar0HRX6boL4Y66hCPST+3S55JiBRUU2ykibBEXLNc7KWdYlNA+8b1DvDvYOvDpKNCbyYT/T4sjXFRTdWgTw+0PEArFuIzN0AtH9IOWtJpmMP8koNgDzWuUcDmNrxj98yADLK4Igz4PET7axMR4bZfFbsGfC3XF7i+KJ02x6vFrXQR+8s5HNiow9FNp2gGmIyNmZR1wE7BzW9C6h+DMuPN9XmqESWFEteLmFR8R6lRjI8FSaolMGA+6k2M9i+PBlZfjguE17g7wdwQEF+abXje3Xo1o55CW4iVPHF01Jn2NPf7akybpOJr0N9Zoa5xU0wSfFSCqU/LR+156jjmGQ6bzn+GRWgR32F6Zha8JOIbKKZl5I9cUBX2Y9BuhOiDKX7OdAqQ9gNB5oyhoLImFksyO9mbv9ZF63fEJQEfKe+LxIJACiGazTwfzXnm8tPCJWhI+6GGuYt+geUcUftG6QTtWIvV/AYwGr1Jmip7yugPiQSWO5wtjEFKzeAYx8cqb/QA4CgBSh3apDeFpucMa5NHbEYFE+hiy5wmSWVuwgCNrNwsS/on6LR+yE6YORwoABdAwyd2BCqYINjKh3nX8chSzyk3T0ApyEHLz3ZcBAfakJ0++lRwJc64om9SAcQfrF7HP1WWSWO+U+VqZGhCXAmQ8jZXd0wtNne74t949FkFshJuRVk/x5p/3Bb3rnU3pfoQvbNCJb6c5p/PHlPD+/2gGfsMTARyffflOQICvGQexFsaAYlRvM/QlclL/XFiEp02LLxDomkoS8n4i9IXCA+EBukOa0r2ASpB5n3mh31fAXNGH+XZj1U6+BKpIs9somNY2H8cP73tjmjhAwgH/U6RtVCwFCp120KiYRWxajQygSRWu7M6+6eRE/m2yK1h2TuOPAxTXVuUlG5w++oU6gQydtoUTyTCCnueaL5pQMaicCuSnZZCWM06OPOS40Vde2/7DmqBUZY3JpK5AzIOmZl8dKDBTWq3A1bYn34EARprRJVuN2CxpUziFOiuJZelB0L8AfnrLbjEzaF8UohXKPpF2kBDZtUFypb7ayRqGKj/JRoBj39xuTqKaZ7GeDFc1NXR2mr02CSzkl9X+yAXw0CaS/1PyhhyXI07IC+TUPnwNkoEGb06awsf+JlXXQvl/QWWLaOv/m/xvxt8vmfXz0Iv6yj7Vtydr58yewbTiY2Ssur2j8Tc6eBVCnT9SAv66hjKj+Jmizyb/Pf+RUf3+S2O0YFk1bGD1FzivwCVnzt5E1uWzuXdYlw97HDtuKKp9Y6gcrswcK5jQ/9G+0Z0K0zGhqN5DpFJpV+JYV5d+XPJSsVDIdy50rVRYcCRtpiMvuwDrquQeAyaLomgbvVIrW0KqGal4ytLs8+7o5CnwhfaCk928ufOI6YsGPLdxTAsVMUPqlvUwf6UW7t+CqBvA0lqsNLrJaClOXH6t/0rarrTJK0qvueovgNOW0l1UwwBKBbHDD5C5L9SHlBr6kfRSwJMVfh+xhK7fFjGDjPhYrDt9NBw66bckiWJouj3Tc/0+5WbILBuS2hmN24dpvtMG3V5e1AJKltzVTVelqYV3Hky9lrpWb0amxVAReQgTuQg7xwrHE7ZebJlDg9oZ8Wh9i/ESeq2VJMZXFFy8xGPTL3g2dRtUpjPRmMDn38AfSoAxzzw9eJPUeoz4IaRMy4pO/hh33rZ530nn1CkCWr5IGrk11swKcmL81UaTxD4+1hgXOUWGyOsXyD0f5LZtiRtZs8a1TjrfKZbkl0lHPbUZNWTj6I3RZOF2S90CxqjqlOHdAtFCgX1QRpuVGmLrc/rnRCQzpfs2GBt5DrDHYZYURciy3WziIXiONXMNqtI/lUZJ7MkZPiwGfIujJ5+Rh4m3FY+evkZByDORD2cQsNYaBwq+9a+VBU2+/bwOFVZE02cTUp9x1y5HXIgtvDrMGTSmPsoxveeL0DZUHuneTcqA9SKd9Z6oHjOTnV/PYjsMwgyiGWFY1lnIKONZ10F+lPGcszdNaHw7k6sG1X84z2g/9MB88CGegK5zEoO8O+YLvBHD70ETw0Rrw6KGyjHkuJCt9pLa8C4NOZJcgI2qO7mZiJ7DFd2gxnc1dXE7vjFrQC0BmSnvKUyskZsoBKpgcIn5P9sbGgs59NmbHV+AP4JyAHtSnCucSACksts2o1bXyafYoGjHkrrp07gN9BURxyM0BIyaiNMFw0Dwg+JhSeR+OaeFJ/lMXXvQg8zeA0sXrbHRlCTiFD4THXdu7JGdHmOMf8t2k22Uk0Jr4txO490i5u1+ugnEnHZZ2diHkjk1hJnHchzzwvh90TM+3WQA4Kmoz7b/AoeZK1AsXi4cvIoofIuSzqruaHIkvqfSjU3+I3y9VGo7oOq7BPXMvQC3lIyT/7Si+TFOY4JlEkNQCDx1voqaJl9PVqe2aXDBO4+rauU5M5/E9kgVsPrcXDm8SAIW/wsezsFIziD8e7+oOJ983OCIyv08JbyYPZzS0NY8mflEowdGviLWm8HuOVYmvALsFoj1p0dTxJtGQxorxBEKyTp3RrcXnrDCrd34qe4viFkP/jn2w3LeknZaXSjZjfHp950nv6LFQ5eFyjauDpPvzlfNbkREtEorEt+m4dd3wKnZTGMS5/Dkp1zuWLAVJrqwuStmKKSBsvm9bcInuMPryRgNZEf/CSNyzZcTAgTI9D+kqGhOasETdOmblH+6UDNEUvhUKWPFgITiToXYEOKX5N3heNFCLT1WOm5vYOLSHo4K0w4lDvd410DcKNM/S28HS0678fVJ9k0+B+3HZuK1rCD4U5svT0s+dQvjd6RnNkwuCyDD3gXjk9GiE4BpyiyQsSvVV7Vwul+ynCpKnCpyr3fMJyxZT+8QBjROrxUSy+CsNztbs2W0ioun3G7AF0ASC9DugyV7N7hGYupdMIU5m1tJVLCmUZP75JGak8dHL0MthIFMv/na6FM0YDmRmCBPYjCHQlAF0CspDcwy5T2IdgR7MSyoy36zq174/B5jqiBLOBQBaBF6jQfes1zMq1Lge9uMA1x1wgvu7Vr3lXilGfEAYAfHMcgC11AEXqguOwFo3LHClXgVdVXNxr6YWHiMdGyChoMGGKy/xbVoOpSl707BoR1uNSEYvAttVv6W4797ha8Ib/tZEqw5gMnt3j4NawuBRrU1FuMl/7EIOST+G0arknt/pQKYhOWTUvDd1n7/BuYIoi1FHXasPc6rex+r/sbpWlPEEoPwCsU+j6CobyWKB7c92xIIuAK8rZREDoDQ/FAaEw8swP3PGL6UOaY3dMk8DFIyIsgpIyplSYRBSYJCugbNdZ1hIJjRm25s6uApSaFlDJcyLJHDyMcXi/b1/bOfSbSnnlE/OaH3qGCzja+qwokaf0K/K95rqzpgE6CTa7RNfbqEm2wngDuF4s4xsYa2AgwTqWj3qkMTiQ+m/njPTeYG71jz/LxzAQoMDIFs421HkdSirKTQFP4PrFdaevsjK+eVbG8CjqwsU+Uhwg91Gs858F94k0JGyJZ+wpyWm90pWAq0ZvxnPOnazd9iZSXNIBBZ4ha2tQOiT+yFT58cM7P+Zz3cQwVxlld0f64fNcJdR+VXrCebzCQRTJH0WV6AYpUHA9WLCG8qIAQvD8pFKYH3jXf5lVJkWfFd6r7lREjtpt1Wfj13cCNBb6FrAmsOI2qF3MpvimP+EvLKR5Unbm7nkAKpsl6Bc1X8Im/PVYWHdIdDdbZldSt8yXW0a962j2HDDfeHuZ1rg5eZXnD4BkeCaZ2eVsZF9d68ACPndPcLLpOsLrQvy8E/3z0Uxs4NvOK2RDXc4T8ZTJK1vjkxTsfxEZ9MJ5CSGXXTwOHT3mEGW3R4PYODv7AJsJ4rheiLzMUS/jt+B4AtW51fG+8iOxvkZGcn34paLUAcKihgniOKuNHoDrgVKRqQYXEaKY4sV4SyFCoSda+qWPovxlRRDR8qWqOxbtg0UiN7ZELM18bf6zt32MqOaruDJb10pZB5BFk3WDJKHJiyCS6Niwhy9emRQC2W+7q6EndCpJO8hNRhGhxlBr7fTip3N2O3OupMOSWUebknMyBsgTwNY6DBtMoADisec6MbPMEYy7hDtQ1zZ+uGPaA8q5+GTt2wqRFV4VchY44DIJSzPCfnQKkzHuM8m1w1LECpU6v//AjoT0O8YWvrrsqgIpx8eNljbz3IgfUa0Lzb7ZZ6rv0qqhMK2U4KrNCn8TyOciExMS3JIfBQd+43OtRNO1aM8rUxSZ6HxB93vZZZ51MtcclYtDiw+qMfga2Xz9wRvtaaGWUcelIS4leShh6XVidWq20qXAFdSmrA9PNHK+juiOZsSgZN6V6JIdg6gzg7YTvIhRWxQW40L4395J5LECIQr+jd/DqHyIo8zVUvQDtsNG801B1OafcGF345YiuxpkVURkDnpF++2T6dmbl4CZVLPFjNdFz2yuyafaqcMQGEVkxBMyyZajkjtuLOFY4+X8gTDSB97xqDIlBIzf57Jk40ThCYJGYHbF00hJ4V41glpyoQGaNbrAM6rW72YRgc7LWlsLpKfp2ra3WlUfg5on0rQaLJRogwTYxTX65tCWvfOoVVdmI6rxvGjvCly8grGOJVx3AERKIxV6/7HPdbHP1PzzurwEniyMFPa4KiZXwfljpr5+elZ1kB90aiKSWGYIWHsQguFWGzi0h/0lf9XUmGN+EqJX4pE80naL0cISw/YjazMhz210k2At/ew2xQxQBcRnG8P1yELCjHIR2PMx5fPXt65m5Nak40HZhfB9DOEWEQUxVBOn26LdcCPTmI+HSwURaeGVaw6hIBRc17o/tPas5kvb2BjhyuI5qyyVJXAxt7x9SRNl9gZjsRxklMZiEeYuiry+1o5PHMn43Dnn3u6DTSdZEmdtfSUqkikMkY29QYUej7/8Dv5FEiITDUghlCMHMa1K3ms5oy7KaF2SiU0GtqCINM3vz5rUTbYBZ6xtVR9gRIiT4FaEG1NmGzUlE7N9ALab6NIPMCBVhlucWEUARiqIw4ILk8aX9xoz8Vc0S1bQpmFJ13zXzmEqHEdI5GKM45EI3OqkyO8cINbwU24guQH7CEmzK+5GjUW1lQTruHpL9dU4ymGdAfcuGLU8TJZ6EvZ/ohJU4nth9z5ysMhcWr+dagbJ2bSbOhvII+bMj8YGPPNecK4fSxmLdeimA0x3SrWTU2orxiF6zQitFIAD4efKtMn+pk1+IhztLONDcGDIExFM3Iv5d5oXATBNQHxy7CG21nOVP4hYluDg6diEHbTLGJzZXB9wLSu+NGXzOQYjVZ+0H7oUyqUgahU3tsBO+xNrBPuyFFYk36z5/KQgVNoMKJTSbxK4QW28LOKi2BcxJyHrLNmm9O1Q2SM65M9fxQjbWBjHLto97Xk6iqbrXiEVJBc2UeKTucuhOGOavF7Z5LQlfJ1J4JYEJSdi6ixK/t6PMuJqTNQKUh2LNyDfWyy7yOajmwI7gEDxyh0uZ0UrREaWo71Yjvenm+aYIFshmJzGsZnCZgkPDLLpeCagX1CkjQ1DTXoF/wzwhrU25lTzE6iHYmuS0qRx9OVP/PkZuN6D8pz2PjSsv4BiwfRd/tnsdfrD3Q1a7fmVd7b32lP+puzcwLcCB40X4wO7+C/z9kJr2ra6Umgo7LPxVKgMeBpLBjJkv2NIowblc4M49f2YTQvhbSv6D4j9N1ADkqWijG3susaLgsDVzcf7BlwP1o+ujZ9bBi/d3UlWb26ZkyLIxpMCH/vjbO1LF6+S1vV0tu8L9WdtUJpCLEt8QrUXP4uZju4jh/tCI8udHKrfamBeUmnzDxjzgldiXzTpdk+CiYN4LemtqYfxjIf/8ISkDmlsR15YSshhAoQniqqDQaZD3Cr9OaO/SkssLESnbSkwgE+t6RNotMYhsjTQ6275y7bPGdtYsRL2PYfu4zafTcWCXz4NPacwO0CIojs53J0h9i7bl4BV2UqogrRuO/3XYnApESES13r8kws5z9AtEPsoiK6vj6D0GEyjzEqSrFVrypcoNnPiMKpKXOMiJiHKMmivUnBwcqFCihxrKKHXvpGEWofKBmibGXWtj+6S5NviDbSn3Lg8AVPDlnUV7qsOnkkj7kMo0KP686OG6AkhRQYVzHrLAPOmCQLC1i1S7OSWknTOKWSeGTFDkpBOrw+70jbafD3PXvcA5J7UJIn0b/7BYRWSA1dbxl1lvj0s8uP1ty8mzJ7i6ihs0gj7NoYggY2ZvH5cK3E8PkU2V98+03b7sTEdSxru9NlPz5nzsavFzg4qVP4ezYzd1p8svpIY6jxue4Ul7AHv+4ld38TFzS0Lrr9kI41LnEJI8et/8NCIsGy2WeRKkj1ZjbblTy6pqOe9FFYiUyvs+koSd+iWK0iIkj+EUg8wWH5Sb1Kg47zVKFbv9q7Arv9sUKFXENmvl2Dnaklnx3WS7CAjYvsjzOxQu1zVe4ZpudLCtr+9Ekf7ee5IUmRtKX38oYBbKTVJUvhaH5/RhnRlD+N6MW6IqvHf3G0LJMDPCWpzlj5BUYmIqZxJEgnvLkIcojgg0ThLjKvr7yXSnd6RGrPg2OUGKperTpJZGv7l17rVXY8vzz3stjK29DNUI+DK6umDzsrsQxZJzEu2tHTVVe4k6E5k4fkuZn6F5FocrUtAwf5zWY2D3S8VmKGksfvMgOkayL5rFVq9qXJ4CBq8X3shOr2NWYEtWCIZZY+3Q2gQkvfd0wMD/ZK8KAdjfFGgKPvESeDFWDyu9CDZ04Zq0s43L6hYKhkCo99CUrewX2/z+K4lU6vqO+zt6tejB2gSm+X2WtmM2JQTle03aiKf/sppUi0WhqM5w1erFrvuVDh4JYmdxhFqqd5eAD/ysHbnBzkmP3WR65h9PUqYc/Rx0GQsY01VgUQXpCH1QOqa8FlYdeElK12BAXfu67Rd5oIgSRWUsar4E5gwwiqRTCAf+5Ht8JxN21iS2NblQP1CA1C4bw6vsXIakHXTw50SNn540Af8QGl3O4wTYVd4ha8lxfeD6DMKNEOU2NkLzXNFPdo96CKwZDk+1Lbyh2y0Rd/a4DdZm88mnhEy9z7MCnjd7BbHMf+d5dpUI4NQB1BjEz3IiZK2JAQapzg5uUS9QBCceNdsyDZvsDmmzD/zpOyMV7eLReS7mqGD61udcrZ9K/2VLNA+LDXkr/v8omNc1jnpXc+eSgGb4LhoTZfQhNc3xQgovSXOaNOCMbTOtA5ntOgqX79rR7F0bNnlVQEKiN6RHFgtQSOd+vifw20F/051AO1AOL1KHKxRAeNtTXM5zqWwcN27Ka1Cm8bm2uWE6bucgrItSnygdjDtB88DdjU9X2I45SYOCHWrM82ZH16RAjXhVsM3URkhMzbbD24Jf58fOYflk923C9GYYlkPbMATbKJRoGxj7B6qEKSPdgCarqf+eazjFpmgbJSs8XIj++q0051QivFdZpqHwok8Tx3PbUob6smj+OAEyoV1jWD+SXJPRO8WdYvPjHBdNmQ4ryb9P/8YtF3YfJzl1TH8c1oe0Yf/cDjoxQOlwyyPoclalpjXrM3Me4Y90bXRTvPmi+HW5HgDPi3qVyrFDHyo+OlkKDuaQPBxSPLDj8jTT76wBLHs+9X/AncA+G3k6qsUE4DUpEOCi65rZbKgtkZA6fp++pVi9WsaNxL4Rs0T7KCJDydExnh6qA4WIYVvWdqkZ2Kpom8HRvN2LNLwFaPTmu+bGDsNrsbT/0qbaeZZfCsRNeb0kfGs4zT9+gIH5pA/WS2EX3qXD2Fqo+knwSZcjNnLC2GuKIGeyWuc/WM1vLuhsLuk5drmr2bu5puUFAIenX8FM4Gp8lmorv/U9+Rf0sDGr7Ev8FTeZ1fP+U0xDeBKfn6Hg3Pqrz9qfAMVPJbbdj5A8XIPfg5LWK5ZhTIeHxQuGD/YH599QNFTSqNY+cLU6vjHqi3k3xzMm1+H9wgtXoIUz0dtk21GlaJT8lUb2UM/hUWhsOM7XNn/L7ljxh/nbHfbZjJSjiNWydRNZ7umUrM6ouBFUCO28wc4jn0mSWhaGcebGmK3bzw31LnlIfRI+oanhrwQRiD+Mnh4Ia1U15Gr9aGW7u3OvBGrb2HJqd9EFepk2WLr996Ho2qpYVu8Qq9XhsfUFPhfSJgCsMHG3mEOGuvAehxqRnbMCM8M+x5XLDXLDia8mB44SKC5oU96lHKn+amdKy+jkgUDtC1beT0UC2DJUGttQhO5cJ+160TYQ5+NR3F335sMTkCpuwX/e83aOaEXOaaCxBpAlsqL4OZdIM0dPwtoiBWQy0Pjf75efM90YreSJq1iOo8SgixERrcbYcQRptIRqqxJL72e3BBwnb9FFgx5Nmji7VOEAi09ES7OpvH6rOz9EiWn+FwSelGcab8AhhJhI400LAiiSGQpZcYFj1bWxmpYAq4dodBpYa2+MpgcPPr+TJmm6IPcMei8pfOvSv6YgC10G5cApDVKhgLOLZPzwQZgMFs1jtkypR5Li6dFVD9WS1Wzp4m2DrkC2qZnL9Vg6RB9faUZKGCwajPV86Ew0vUvlmUHJpSviFOVJXX/B8lWLdn5K7vCzeFxx5n/u9aK5ZSTrFT9SHrXlsyM99Dz3YfDDvVVGFMY1OOUMYm4rbd5L8XfOoT/XGxU2v6tdp7EMQZxVs7ozwYalOaGeYoTTKC4koTUXCTawEI89ZlQlVYwaKBReJQ2P3oC6xdrLLVc0lie2jELjq8CPJWHZsIy1uZFZ8GWKQPeHi3mUvKVAwf+yD51Chb7+ykHj1X3xR1jlBEwiWHQe0rGKJvBssWkIXSKKQMasP3XKCEScavNLBhYZFoxcYiHTPORz2+NsXP5m38T4ttfE2drRV/OuHm2gEpzCHBB66pCXcqaAG896Rn+OpxwFDFz8tn5JHd0K50zO4+J2xbZpT2og85j73fm59rhT7EV9sztzUnR968le+gNfNpFiUKh8BqdHaptBusKx3Tt5gMmf94zSAEtdUohswS0HuYHXJTktjDU5r7mZJs1Z7iuam4Is4FL60uW+AwOhrn4r0cc9dgA6oiDQRuvOie206AzBDGP8fWIdwXKE2Lef1fN/FtzLdatIYYOegyiz1sij4li1uQ/fLG1L7KcoOBerW2CU35dYRhjaAPGPZ4Jrd2iuyq/SWpfJbskR0zXxu53i8jT6flfH07I2/EBH0bUc/dumVTyg3pYK1loDSoILvEhqZ8/GOro81x3+Qbrbh5R85l44q2MmyTiS9xDPU3kEQIyAaallP4eve7gru3G+KUj3kiOI/Q2mVMsMDeZhOZ73ewkqlpMnH9wYTuE1Q5WjO5wZlUtvbs8xLMHLw80Im6dcwEtkrTI0JJs3u+viTLg043vd/A8V6LTkNTBCDQWjVg0EtCHQiJIipvjSjqePmbx5uf0qbeVMxM4VaTjsnkl3TxKVksdhupFP7cQFNNmDqi/nE+4Z4YjNckdG4R+LbxZe2VD1HXwWyeTSVk5sqlh4quLTJBixeEYanc9gQ9l0DhrpAz58QS6+N2oOfsJ+vmoDCgwZ9t/Aj6W6/9b/Xi0soQUtil/dYQCEq9OGIudAbSoZM3k6V1ZX6ruqRrO+gtALJIFCSxT4jI7O+nRzxZpo+BXhRuWSWTLA2zU9F3zzjWhlF1+ACd5tt28gSVfl0RjbzT4r2s3hT9Yu0xWTGFLXOafn3YESa0L17U5EoGF0a7vyH4woN7LQS3Jlt+CrW/qLmApRD2QBIDNWVrIBHHR7EMUETUkNrjWto9yFBeJZRnu8fFE+jCMiMUOFznVpetclgDgBMezSp2k28GBkocTSfcawPKdYt03HNV/b0/AjZf6LiTdzWQc2/jeArbrAU7g9Nwf3wsrqFEMR+hpjIW850MA/P3wyTvnpVXZij2Lhiz1GfgZJ7NAEhHIoUs23bXpU6jfzZc2EC44/heWk8+RgaDiQzhisrBnu131yv45hJQyHmIuWBfiB63AZWZ9quKIeKnPTWohvdbzFiolG08KZ2XHbRamn4/bHvOdpGThsF7y51rePg6AJxBq7tWD/roUS/x+h8KY3HnUi5DJUUvsXt7Glh8AdlK/8BZFgttTSBcSilZ3a3SDKCSXVtFssSzVVSpFYKmnBwtKWXIIULHrN+SxItFW+23uYVNkwuF18ySrY5zThgUkhyqMux7mB/Q8qXaNFNb3Gy/acbc3sModfOxZMrLraHd7V5zsmvnVYlpL7FT4INM/H8LdtHOJhhqk0cSB4y1GbyTJSEE5CeoJ3RwyjjJnO6eT2I60TJBJZKpfX3wubdAKEB6+WcbwkHTqqdRf+tTh49MBCS6AoDHq8S5VFa8v0UIvGOHhJFc+vDxQ93EbrX00FP8dInUjLjTv3ypeYWxfmHQl6KxDqkgB5cQsaejurbOIrHhhqSvGxutqQ6QrVMHGnB+JOPwlohPRPGcCR81nxcKYw7man0xXMJ7Lq1kNn2Ms3M7mFFC347ELGBa+bFngo5qQWl/zTp1CgsqG/YX7TikYlxzCCQG/ICDMqbJYdnVvP5srZ7P8D9I+xB+Z+uWM/jtFJoGbueX9ofQn/B7T8qzRSw8QqqyhyUEUKN54Q3fLQrib2ZZG4O9z0LsQJNkiqsdtUMBN2MxAIY/zh44SwiPUlvnLeDvtB1t8R4VKVR+raOKlppXcxl2xkAzesgs8clvqGrWGufbmSXPh9EMD2ldkIREGisVthkSt/FQ0azdfoYhgjtssBg/s24lEkpqIC+WaHQpC6azihaAT9Hm5YgThtWPXzYA3U5o03ypnNdm9EHRXI9gcZMCBx7EV0Eg0dzZvCRJpa8HD9BHeX+pxbWKU34r3zokv5Y/7fFYv/nnT9sTecj/SPCFyqV5ISQB4YdxC3lEY4Z9z4+Bw6tof/2Qg1xOp4hKA5oCRRXjXR53YKrEO4ci1oZuX+ZuU1/8aTA94XU7o/lSriAwUtjIGuJlYI8YUXrs1R0x0SGNa4QgkNoeVtNtmNNVWshDkloZYkrjYFUNfUt/GyxL/IskJopYpC8XzPJndRHgjh8Om93fo27hJDjbC62+MBA4h7M/b0Be/0Ydk7GFDatBW35AcK34pFprxJtprUQ5Q63f3iBAzQ+IyJsCsDOvtczUVX50VnEipry1PS6TG5qMMF50yPq8dfhX0qJuCBj5+LV77qK4+eyW7YL4YuxGzhNtmgXkSk1J4v2YIwCLdb71ybGJbBrsymEi9ZSlnXcjN60VGRu6Y3ntEtsVibYAHaANtCMc9LdnfVE+gkp36qSKlqFIMyEh2/1hBq0Ps+6kbSc9PbZx0j1Hubbr8rh55e/GOM/8ikCjVjZrp+cImIolR4BHsvWZwqI2/pmKAlMxGXmS9e1PvyuEC4ExMs1hqmipmnZljjrkdwjrT46khzJGV/BJssFp/umX8QypZd2HowOBxWjLETf0fi6xPN1tmyY/Xh8y3h1aXQ2Na6RBYTKt6ooMpoPfJzqqzRlRjDFzL7dR9QF9XDTg5gMY7B6IwxI/ZrBcacro3SGdCLBDwHaCGw5J/GKTJHUAMQg2jNE4uxZCUR0SDbigGsoquViaq11AjsiSkkSqPpD6fe+N7ThpAJAtxhg04KrYfL80FR611qXxXYtsCBmoy/Ywwc4/ORg3eBr62S6ImsHn0cBIE6HQU3gm76fJ61+MT9sqWqvk+x7nAG1ekkaxY71JOzAaziXdPcKauRoVQcjo5c0hmtW1gArWfcwGeBl+VzClPAcRemcJHUI+KdUnHqPpykTX9OZxAtOVlVU30VqasYIPuI9mbJBEBkd4ixhyVIS7v+BoMIHYmTsmGcdOEgSeE2qRfFrsc5+EdACqJ0puY6RGIYh8Z2W8+Oh5zJs90DIar+acyFvXtuwaNZHhd/2fRanVxtOWwOeGr7QulyX71WbcuowSmeAiueidglrqQ1HA7xrVXua3RF2d7lwU6ELllwkQJCGwWt1b2QyxNg79qE49gzO2Ksmm6jZw6tAyUGQXzMaENKKbXqnVSB0C/S839HGpryc5pHJrhVh7lSjLWEpPMYJLL8IKAQxCn+rTszZ6Zm6WG+ZfuSkIaYpaA1eDJ0D0r6T07/WmXUq0aeQ6p/bD07i+CvfmJbFS79v+q1A7/D8E3AM3RbaiIUyHF9ijE4B40/YC4iGuHuevsZ61ZgTIkB+ENzT0IImwkx5a+MuQEbGM09t2nYeX9SC5buym7xLZfwZNgvLPhxHCjDheqlm/+/kH1YrwebcFwDApZ5hd6wc6KfnTOxkIWp5IlhOyoC1L8zO+hqte5aRnZLSfpsk6P4sEULN7W9LsEZS46H6qqHa8awd+whRKX0mmq3Z06mGZRVfwuUvWz85haeRZkxP+EUvKWfjmN1dW9LYzyI/b50wm00qo0ur+KWh85BHJs2dQh+jpNQMdRQtdogygyqrp5dvHGvfXBi1AUNDzJZva/1hqzgBbITCcOpEqOqOwHtwerjSY1gWz7AZ7zWZZUXgHHzUoQf4sNgCyC9nIF78hCUP54ShE9UsWN+T6cw1+Nx5ZBKx/diXqrGfIi3EzBQhWlEcZ2P4pD/UlR3A0Jef09iaO7Oy6+/xx07AB1QLZK7bAzwZ0Fu8ZZKYX1+9tfqoHrMhJfSIb8xobWDQF47jbt+QgQaO5Zgt1ldA+rZTOMAxE7tkDJs1aniI3aouzycAGnwci8LhBReH0N49hXuRKgI6C4u1/mt0CUl9XLkrptb3swHKnBUuAcUZcMRuL0/jNLjR5/1bnmSqog0QxpVef36Aa8dhmnR79EeHPeGBPBgr2d/uPM2jdhCD5ld/nHl9V982kk1gnL2AoI977FIKaNJkdyU9mwVVGLN2G3mvJhT9RlPETcWO49xhUROaSsZQOHPxfSFHywMIP0T6SmyPvUbF/KN+BjGfhkDzPvObYDsWr4TniRsmrweY6HZ/uVcKp7f8hMljODLjU/plmWZrYWoibLMjWcsWIjNFrJINBRmMhc2xg7Gg/lYIWDtXjZWW9efshVQJfaFuM4M+Ax3PbC7x+wgCpOq7LXPjgcFHl7LaM3k+jrPT4RZAlMu68tElE2+UiwVXXpxfpOnuQphixQtY7Os8CrBIjNjVbhcw1SmpjWehdLBQ4H8zyUjKfDOrF7xog6IxUjK6B6+0kVzWUSx+iVVbQ4FxvUyMoyXx1t5IMPQHBlI5pzFI2JuYslB+peGrEdfLgLozWJ7YP//2RTQtArzouVb6WMDfgGRjTIy+UJsp2CGSuoqVuJtmBAaW6S/7LZEkEM9mr66qpMpfxLxLtU1sIm5Ur+Zxh34wwaz4hL1h9BFxvSzlz3/geRxZkCRv5SAFo72hk2+Jgs0xBZ2ADpDc6LGbVgR6JM+2oOFoalPIO8oYgyAdgO48CWu1ooP1lg6kbXha2Dj0VcSvoGA9soRRIO3JyIbnWxO0krAE6rckXxYCNAp1hQ0i20dVwzXDOgTYopy7oODFT/+Z8L4UDRRH5EHcjcirzUri5p1XutRkS8dprwq47vH781tUcsOlirsTMN/AExpg1KvF1h4VoJ+Zw51emSbCQZSu1qGUGRX8HEAVjJ2PBz88APS4tAufwyAMtr8LUnaYjR5pxOQlzhfUjQTFo9MsrVVc2nRMVP/YEHGr2T8lq+/Tdhp1c4e3f+rEnCy7Fsydig1oiNFOJvfP+pWdGjF3EHSlJf6CocSLNTKtkanAJbEP+OPPdzIW/144eFuMSuQBMed46s86pgaz3/BlJcO1vBAfhjU9SOhj+53RdHd+oloAzzqXXiasVMonvJTeYSZmWetO80XO/zk+jnrQaK4KjQQ2FSQcxIZE+GR7hluHSk8Gr/TPwxmKq6BF4V5zsDrFvUUkvd2YoGE5C270bGoiEgXvxPeaVLPw/76Lp4z8wAdhIvpnKe90GV8nQo1HnPMtpC1CADVK7guR9ztgxd8WgMV1vPBOcw71ABfgnkIg346Cs1z2EfqcAGMBVsvmjxsT3VH54DJFTAGQtEXTptSu40of3lmAv9HC1jQCA1LyFrtGSYCu+efSiNc0uH9GepbgJKpmPB1Vue1c1zBwdkNqqtsFnCD7DOUjAjxZ1PJU8ztMy//n0Iu5u/SDyq7w5g+TF+r9dhhmXdW3poNuAzIgavwZ5+E+WkGY8ErseY8MWG2oxf9Py89WBs0beZXtdfh3vKEQTcwmGGIpg1Qezif+bbIK8Mbny6RGDNkpex86116Wy1HB0uItIYHaKQC6qpanBMPwqbHoKLTuLVscCdv8U6Zs45MRNnRZr9HMH4P3iYXobD9neitMhNQOtBDFUSpXp9mnPgzgNY6QI6K5vzjs9ocqU5b1str1rZA3v+bo219EaReZavD7hZBtRu08ZXeGEQJzEqjV4fA5H4/g9fGOSYmRVNATbjtJ80WamIBCS62K1kF46vDowUKbx/+qbMhsq/OXRjb+51YvIKSasWVZquhdFg2lJ8A4l5CeBsXV/gXHTBuk1M/peoem6eFDGilnpOyC7odwBL7GYq3pOavIzhmEkV1i7cooziJHxPoucZ1p2n0/roAMxr2isq1KDeEOSh5bmeEuoAUqVAWFPHpi5m50rBh2HtvLsimQaLKbF0rtB2iv6wSBGqnfcALsAgwUFwuqBxpItQYKhs8K0sgOeY5mIGiS+GpB/lbbGYOaUhfOMFteooeFpKCJmUEZH1p8PUaEXf6IgDKuP5Yb/B8o4J0TnfdhPiLEdobKVaxN2O2jxRgGIOJaO9x+YOUircHWakjj9wPNiwYStMFG5LnwmkwA2zmPihd0xY7QMUhwY3j+vl9FjlEQHXR9zp4cepU1SRXPCn6/eunnAMZ48547hmrP/DuQkp4/1Nh9MH36RoQwC21cJWn81sKjtbC7Gsz0CQdQNex7MtNFlps8kn6RdKpqxQdwtK2Axsfx24SdMCRzu2cKoVSdDTQWN3fyl+tdFLM4cMP+3c397khdAPveewYoGkCgp4CACWuC9870MH54imtv4dwmpxJ9gSByI131/6DfcVX7jztYwzBaJ//XX95QqyO66f35i01S20KYsVZijGaI76ZDlyUl1rgmkodanw7f89o4PY5rTppu8owlAyWABm12nPdx7pEXR9EZlfNh1YGDVXlSF80T9XxeAMb/2sWhL7AVkTyvYmG/S8+q9YVp36iWBt5EArQRGdqVqWlPM+Gp8CHYKOdwQD3ocpSue7xY+fWJ7zR9QdzrioU2i8NGW+X41zxyPqVsSNe9eWvLCJHMHjl7I4RGRmOQfCgZ86kRd6vgCwtGvVjS86IKNc7ntwf97hab4ZQ68NSwU8Pt4iy9EGEFOkZQaAtvfgqxE1GUrA/GzH+lxIk/Q/4hjzVwMbqHrrDsMwsxSKar5MRqg1nP3UxJc0wnvumkaLIl8XIQtbrELHrMnvcoiofHTmd+0AL+YIIuIGst+jwiKRxptNV1GVzBv5soteInKSUF0qCEAwDQ/57k1TfSHGHVR0yXk/S3dKxNPDiohQ2eUEHP7Szl8F9zya1lmzPY4de5o12LjG6ABBDkiNoW1le2SwNmJ3GS/W8CssZvO1SRDmrCrL9f/8y7CWbNzcSMd/wqcKGbqZKd+bQnYEe0qgJawNK8bRTN6lIeKV4Z1xEgUmfg+ydkFYNgXhYJW4ZWw5b4n5hXI8QUTFKMZIWNrnp/GMOi9iWJagzQOJqYEQ2MsWSLAA/XERAPuPTjo7j3AwOrtcxfJi85+RLDkvAXFTQEfy1K/BR0WTRqnjRyb6d0EX43TXRoN2qGj/P3ftg8smk8UgXnqwHQrLW/HFuPj607kXdaMUO9wNj+G20vqSp4ZvPIOA5jSiXzU00Oxz2vE26zWeuJVmgBO3GIPE3vuKUNRRiNidMVSTeGF7Ju/8dHGdD9L/HhKhYZbo89m/9r1QXyhjYMJeuGGdNjqul3Y/GN6p6NVYbrzY+bdTvL2kaCOqME7asxwogs0sjuvE8yoyGf+Lut5yOFzPVbjKBtSYafU1zAmkJLUVkZbucBM+zb2jbJ7ipBiQl6URxAcLPYGDYIRJp4bUk2qmm+TVaN+AvWZXvem2gXQYxJzXIKLTyoIlZonEcY3p6XOEH/illNdgxsNAByxn2Pzlx64OFfdBW9GTKJw59PJ3pvSw306qGsTUwjoxeII718Hfwc3V0Pq12iWnIfwIrkEL7usVDUNZs47cIKZSauertfb65QshRwTwUCr43VNskTCB/z9AaxSDB8sr8/IBBi69UJ8wFlfIu2Lmpxga3vJPMvBk9HUQwNLFd0FnAV2MYMI+9fUDMY9p45ibBSbASznuUsYaTMuJSpBf0xscJ6OVelDulEdlFJsJe30Ul2XDqNnDeowkZNMfyHqVXF1rGBxM7Gkny19UveY1o9gdWvzm/irtN2VRHl014a/87av2aicNJzfvQuacAbOcFtcrMcYSAxhojKAexVz9m1CGok13FDnrCpXLz8Z15QWeJ8dQjP9V4aQeZB2jpEM6a6LwM1DOm5UL4sB2s20VW1Y1Jpa+o7BxXvKjxu9W9IDaZ5/SwOM3VBmYLmwdox+9j23QnRTZhWMAZR6IjITslmxdNvNE2WzkICKXniJsxsoMOEBGKimtuVEQqzEe4D0hWAn8j/YZNbMOpQf2T/cHigT2844BGS+GSltZvqX8TpL8T3dK6iZLx8V8o7BGVKUIG+jNeU2HCeRHAG2Omub7WBV7xi0GOnXDJf3yzAWd0lseKRpA6ApWRLONN27by/VuK2K7S0k1ASQBSZ+h0hw++jEHh1aIWb3e3kOvAv59++TN+uRqfphHLIfV0XfCzUYmiTeRse8aZsagUuY1itaLaZ0OmYeQPGhLWZ4etltvUFKQJaykcYdDkQFl1duNHMreh4AKVGLjKgttKatEE662pIKSY2Z4m80mE7isP+LhVXJFYqs6MVK7DX+h8I/sAcAimJDJAo8UEUexhF+Hjsppac4YL6wtnud6x8ViveOxFn0kn/j/ai5W9KN3PA9FKhjCJ0CmIbZE5deliBfHFTRh20uht5WkhxXFl9hY8IF4BAz9oLqbe6PgM4RhryOxVd5sinSvzqP7Kk483fNLu2FpqVS/JJJFhZHd+CDAeRMNN0saUdhP5ALShKQCYMTe903TeODxCfONxbGzWTBXwwOcnY/fPwUzJUNkVhXPJ5rUCOX1EJe47xEGVDPe+KUBneI1kGoRh67bHwZ+UZDNw6ICHNiVRxMmMrKfrkVbsEroR8W9W5zbYjDoztQOh55BEYALuBzbDZSbLzkDND6sYn2ix7IENSUv+/TQuIR03oNOHzE9/5BYxEkWcHy0MYrMzVVwEu4GQgCEBxf8mbgc1bZxc9HAU84AazbUT8rmWTxJsgARS6XyFMmCp+24NJoEbXhcWsBZo8OAkJ4jtd+NOnzJ52MGIF5FSZ0/2ibqmfgVtEgM0UrPlEblxXxM8cswyQE06qv3xp7EfrJ5NbYbpDfC3Az6hExTboUlrAwCTuuFUY+7RYDaJ6sHHUEdjdVa2XsA6c3J6nceTqZNPvtKRPVIdDwOwF82uSxVtpCHQfPC/UpMYHkmgj1I/J9sPpLZ1cGd49yqH2vCfpo4uCqHLTCksoDUZqgFb6I1NMI3lh1SEwsrcZpeVF3lgKiSoh9wc8b2rRg1Kwk1hJbCAHdrJYnZc3Y8dWRUEso9OsoVVE6lWFDjZFdpukCROHVbkxqmSYTWg7EfP7AmsxX0oiYLWs8RH+Q0a2jAOXuV+DkmJTS0pWAv1PMQgyEFC7b5BRJWRuBu21my+oa6T3fiXZrMA9+yIXIvLFF1eDLfrXOflwdeHZdOu+Z7KgN7KycsmUdea7jCjg7RXJYregFAD9HC53Z8HPNPvxuz3W5MM5uLdxpliOC4GaUgk6decEZkjtSm/OHgsy9EWjKPyFp3q8xgDZCGFzLdgqsy/eVqAi2601Q2iKyCaoL8BMPkHKn1E8anmx81wW9uhAKxifCz7pJwE1Yf7x2iyqWxVlAxYPMIWmgdchfCxzs3wtuB94O78TKVxa/tKjceVfyJP/CYl46UIrm9MRzE7PEnz2OLNafQvSMM6QXcN2KczRQg4DH4f31SZJ79hoIcnB/ITUtQhz90BrXgS74lXs0pNLw/rGWA45lXcBaJJM4rQQso9tc+e4d5OpqUEUNltMoV8/DvE3BxWHHmHddwr+jrzsV993xtdzGTEZXWxDszvwDf7F8kbvf1QHYMfDx6y+L9+uRNyBdWPi9VYARBKH2Z5t1BpNpOGggtsrHUhUnrAvADNHcn1t4ReMN0zTK8jpl8yKNzXvX+zkXMvIVi+6eFvxh0HZa1XSzrhC2dAFbVJrwvaAV3G9W5nBua5FlBDBqCO7dBK2Tdsz0nuEOUs9vwT7XscRiOQWh2Ex46E0ZdqdW56t0lv/MIqXayULWk/u3a9exhMCQJaBfpxzs5dm+EnAIxFCj+kjwCTO6Nch/U8JoyaOfsrebc2lbkwfBnJY4BfMVngmfwWQWO87b27v0drxog5mr1C2WlJrm7LnrOcs5zAc6fpePbr+BAB47bkK0IBXpeZ0Xx7mmQW3RYWjlwhPLK1pnNMHgaa6N9DpB+FO1JiaPOTE/Ol4AlgNOoJl1jXIfarDWMFfW+QITXD2l/MnlyjFqP6Tdf4eTe2ZWDrauADILi4V55FSeyAQ7jCc3ce13CIMUqNZRmI8rmvMJbwxaUuHBtuH/w6L3+TvD6SfdrP+GINvm+uiexwn7RX5LshDuOBycEldsHUzHeiRJmWS4OQsZTGIkqcBBgTNezFVxGhR8iLjLzMy16f6otUwXj1fl7Em+KDjMDfAx/jyjy9upnRXYz2G7zLWvDc7oGbaulkecB6lCnUWuOXWq20olN37Xjx+QeatkZUCeyA70405Xcu2IrxvViswsf+TxWJmYp7X/2M1U/GGv109VdA0tfWVIwQhyQC7FiFD4PD14vDk7zDvjIONVPmLMY3VPdRpo1JWOUnP8jO0wz0RO2XnCwF0Hy0eGX8LDJyHut6C5h0hEsQJGpGTgS5G7/k1WIPRjn4NG4a2UCnoNsOfHsxI70g0IF0FW4B24eD/xryZc7KeWzPZUyhOQL/0Lb1GjjTkqBM3smZV8B/svTIYHfQNLGEmY3wnQw40ockN9b9RSnyAxLCg9aurHNbOnPftCl6Ki1B72vjafPXVv0m/m2/BBqFCybyN4jJZtZwlmCXTt4RRkIVQahtjO5g3gqyaItR+PoAVekNvAdob+416HY4QxnBQNIbbCc0sYMx5hw212gvzarlIVOkd01Ld3oWBxQ3FUM5XpLw4QMYKI/7cp4Uvnl/kKebzUPHpuUiUm1G8Jm0eZ0SlKemYTCmNv9UGLPNrt6zRW8Z7loG+9xx5k56Vobgvpv8hoChUy6f3Sh1kJPtRrJaBt7nfOvcErI0hPTkNQMZG1L8WUaqxYVICUnsVXxKpYkAuFcCXjfie7xtlENHULPnqWqM/avg7dhLSkOgMDBXnUDw60GGfzwp+45Il+ir4htZLlo1qrNpK2zVhme0qWKdMJwoFNXTuaaZ86MerzvUN42YZ8pLOErlSVA1VjUYM9rZp4ngKCTzqQc3Xkn+YOFaGBkx9iEEas+dATPiXhiO8yKrPfVyH3hzMdLsINVxqJYgscSAMkUWESPw4Qu7kmJ2v9ScvVZypneGhwVDyPWb6NzA4Er7sH6UuOFppqalZTleyOpukudySKTRgaTLCev1zksg1RwhU+xRSUosRFxtgsOVaTNp7EOGG2bSvF/DN/SwLGCYPFCPcjkfBsBMkYEN805YXLeWMGd5ZAobwkzCeIg9EkekRN1OI22hCJTCN8HALzCOz2kBLNg7K7bVVBqPKznSOZHmcoM2EWfXL2bWYzGmMtE1t1S0YyHB+TZoyNonCeyLcjicGF5O2rqZv2gKPN72K+1gWjFMlyi3YhQUJlT+tCf7dK0NqrPOZA+V30lo/b+ZT+Zb5jB8aSZM1rnqjC9859YtHXehrQV/znk1LWSikLQxmmwuKbD4t6MyeonBp3YQK38CM1YA0hcT0VI3YSGFrwxpYaWIb85vLbScT0r5wbUQeQ9GLWGyBWjNdJhQb961JEGkHR2k4O+jZD9JewIyllbOMQIkHMjwNLoJlTky3AlOBphYVE/7mBr7vr2AyKsWstoUUn17wPI3w7kNl6+c57cB+RnuiRrK0Q4V8e/QNBzbdFOhmtUh+GvMlnvPTFcc7EfBHHqwdrDUbhwor7yDjJTAvHNCyCu3LzQ15aNSq3e3HT5RGQPzTUe+QYvTOBBAESVxk6MS6Jp7BOw4HxURm9rrbRsG8DDIt/pSiBJF1tO0sn4iuV4EUZKuqPeWTd1mBjunlayuxn5mh7tt6VOc8O4fz1UenroFqsWG5Zz5U91RvayqAk6rFyJGSEsieS4ZOH6S5KPvtrw2uQYXeKbkgXHiJuqzlL3TdpLFFDL8MtM3GL84iEgyjnaLyisgFQItRaKne7GcqjK/hhqSHgGBiEOaXa2QjdRN9+CG7X7yzyU5supXlEyffK1LslHUH8YQdJvzE7h9gUtCofn0jcopzWKqbCya60k10ScTt8ogFLMn+nC/lVDVcWBUhXGtIpMq8uaQHXFUfwQdVVlXD7pb9z6Udaek4B9tbPbvAUZZr2qbLzScmn8ZiIbsPRyNpY2940Fryg5gF7BW4Imrixduj5zrPUTIjQ7GWA74zklQTOzlL6lYsXGquQ9EimTuWo0R7abpNeNPJb54d1LiSwAS3CJCgcXn1tIFKit0+5Q8qzW7pGLehi+rIuOkUpHiziImzGTRQZDOL2khPbpPqC29mZSOT6f7T2TmaF8TkofgGHwo007uwWGyb3QgH+JcZ9T28mEYr6NCF1UrTGD8D4fqkYlNST/080H1TPa0vGQbjR98KtT03SJ/Ofrjz7+73pRU838CDf3wHoDykLXUHrQlG7N3uOJsvTy7ju7UEKlzuih2hnKEO+PZUFlFdocuuvfAwgx8svRWljg8NB9pU0fUCBPDFYMTLIm2iZaO+Ae4+5GtOd477ijHRDve2Pj7KImYXXn347ljmJfPY0CkebKecJEKxvGjaJe5HyzFn1Cm9zguOHpPKtz7WeCChHKmbUHcQ50qrNhSJ/P1LLwLaAxjufPlWM9Q4LsM6LzKxCw1OGYScplQ4Z+ne3iBR7JFga+SBg0eJCp18e2rETL8G3NOjJd2KgxvTp+4jauv8julOTb+F72/VZ3vpZ73EhsGC29uFb8l1RTpEbh6K6vXySlhuc7W3idbEP51FAKAvuF8bybXDwYvUQ9+xfzenM6JMoippNufccTyKeN/0Gw/24c2r1s56BcjvjK1OwFw4MUO96Ay5asejTj0Qey4TFO/4epNTRIjh67goI8lpPC3MgBtmsbGFhLaSYAzvuyQAYsmSVni/zc1qS8dNJ3PqSYPUUNWm4qaFp5m7GByWeuFzAet3CDTKcTyBiOF2pPpIqLRin6jPd3fv6NXvNYSTqayH6s9LC30iY8THRfN9UvFD1HN2aealBwI/omctBJ8h6MNkX3/UBeza4WNKldQ/YvuBxtWO97pizOkjfC7vnKrGmva8krZDaNzK7wAAmFhv9/O50+FvJEpxrYRXWoc5zWgu5/FjNRVVgmQ3VRtNlyvYnb8NAuwNlcOw61ysIX3pSZwmKuLT7pdPBm1ftsM0gCfCPbZQMxGpvTbCjQVPAJfNr0D5MXhraOJFw3QNJUH1g3upiSXKsRojRm9o1EPBbCUlA0s+uY/0U3TgIbjTCIxuIxHGfflBQD6qMrroSq2fgY8szLlPZwcWrOb/JZbFjfnJpdtiSRqcnlZn9iDN8cBJ+iLKZJGqSAUq1w3AWjoELtfo8SpJBlVni+0H/XzAS+8xMDaQrMaaKlwowKmlJA7W0iyBI+Ooj7F6LUAjqjRhMVrUtMZo8fk0mCjduVIOrbWtkw+KRY6mVDZlGMblkQiCfNte3xp95s+hdUOU8s2vglBbMcuEczlrNp/hqAt/SuWKaVIZIYsTX+Y9yqL4vSMz8pX4EX7vP9lO9dbIliDwjaDZozaBIHWQS0MlAQduN77iOXzmy33h36/SDvqB6976GewA9KXu4Adn36SIbBcg4ixknA5aF9RdoKVzF2vms5F7MqDqTY246pPeXQPcSaMHc/fK2SFCFWfwy+wHjjx9ucSIz07/96ATHnfvk1NB8NOXXtiYACg28Z/ZcYASFviwMlmbWWBN7Up24/FVlrPufyFyEMENAqhKay/zsn0rpF+uyzR/IFh3taxcXRr5J5WFJ/XnlkFiSdjGvXamNHkiq21D9D7jUbcmZIoyryBs9bnh5Z+Bxhcc/kxwI6D8z8aPbPFGFhZjOX3JTSta99d4l75O8NeZ0U1xaRgDDioK/iCnC9zeqOZO/RhBZxKg863XU0Z4hncI+vpybbvsprbQn1Cn7VruW1IH7GC92zZup11qxxJnUe/AkvKJCjSmn1+WnuvdPevXQVBOyZWXuc705O31ZpQasojHDP4hsqLb2mAe1i0LLhDbSBoV7eWqqZ5siL+9N7kLTWgG8wxHjLHDvU60jsxhe3C99jUCeQ+anmewlh+z831y9eGNf0KY5FbUD1cobl+t7BZvfP5XQbGmFmvjueu0zJ7Y5U1eKQOppdc4bXH00G8BpdiywHYFp/RwMGKw6oTxah/A5lPKOpUWW39OnnzJzPkHq0pQY8nTJtWAO7Rid2hzlSB5616eZISYg/KykS0NRdFweS+6A+s8vZ2wKqpXENqU3zx4g3j1qHFAOLf0FtRfsyzS77aqmFqh5JcmMAuHz6YKIjq21P3lxmK4nlyNWfT0PteZlprwBmgJoQXNOxuXN8hn/uATbBk2vqrwq2rPAXWI/wkCjFT9W6tHiGW68mbKRgNSQ8iLZFVrH1rHnHIIE4zjI+5+DdVuC5r8/8WdF1trxqtUsUreZmV0UuqBYiNS3MVjvg1mGXyOI6zr+Uu6godDpUSHH+r4hLZz2RRUdtQN5U5C0BJYXgGTexIomCAzy3y9XoDYBAHDS7w+Y44l4eln3ZlyF8ARsCX74G9+rXiShoH3iCCYkl2Ve+EW1rKqcjnDa3SfOMGIAwP/Y/l475KG1OnO1M5+C/Iy++gKWIIIBOKLnEJFSTvIWUKrC8qMNTizJ+ko5rv1tQAUnRcqdgJ+2pVx2p0pYK8R/U/lsOWIhSHy5x7dUZkDN0ylX0lKARPdTseYyZwkL3wXUmmoHcFbFSeuXe1fkQxwrJSWCg5ynao1rBVfi/kemk/Zygrv+rltUo3ph9EK/9Z9od/E8lt3qOEY7IQj3pYmnoQAdoAlpjW15k1Cp/BgYNYVMl9pb6VYHj6ot4Ri7t1bkKxbiyLFDJF7Iw3tepod7cb7SGKMC3SGVZmg+LlQHSgFLiCEW3+as20Z0Xu+xHP6QTKe0dpQKyrA0bwECXtgFDsw/7HBhi1O0Ah8bnFRvG6t9fnGxtb80Nb7zOK0M+hVdspNTFH5H2O8fqOsi+nzjUa0IhCtzAjKBV8v6SwSynxOOHhrCq3pPNM+TM3rw5zJHcU7iyyL2P/5wArgnsghsSM06+5oChVXDpULLfXN2h1A7UEnU5E7WfUCq025wggugvAMk48BEkaToX3tv7vdQy5N8B1YVBtoUEFwCz6FWVQmSjFjkUc69eOjsaVzLnc6hmGjEJvC83njYjHJxgyAOPxx7rbT/LfQJm60noI68OYcvRmNRf9pgTwJZi+1GBh+LaKp9ChJcss0HO816TNb2D3EnnRF4D85umP7ujHVhcT/zf2xBrVNNiMTibJZiKGuCmK3AmbPApfnuJRmvywyy/J9hC4Y7StC8DoQRqpsqhs4iugN2Uku6h+mRP0s2Q418xezQtbVThnyskfE6KtEwzED2fo7Ldn140PphywUU1NwRwnxwf1pYyl3dosA/HOyAcekvuvpVg4asOxLzxh+/L8nm801atDCMX47ovUJVnzOXDyBAS9bFZTATD3O4Val3gSuR0LrD5j4GosbxR7ZalbvhXkJ3E+2Ski1HDXMcU7onaKiyy/j/EvakuJeSctp6xW0wVZX1sXHLhBazUZc2+M7EQ3BBIEm+a8BakOaVhmzn/xlALS+wNJidOX6pwQMgNzFWqRf0UmmoH0veu2YKddVJPdQDJmd/s8PyZ/fbrZi1fA0ntVNgsSm6WSsZPeflJlq3db3YKSnmdAlO6zYBBZYvfzeGV9zWzJ9fDIykm4/pLdu7MB9UW4smhAgQ5/o4W5xym8LBjh+mc4q4lLYSaKvH3RM17idpXc4Lk9GzmlmN1ClrGe6KQNzfpK+2Md2OPD0gh/TGIynI+CM9U1l+CaD4wrQNb2547KE/WPc4YLI69/FykVBLwjCjTBDg1g31tR49Mf3NsMLP90XAV1o/1QAk5WywlGUNZhVrdrtpXa+ekf/Htm/BK97Yky8z7I2wZ2r+bY7/3BP+BV/9yCKz68mxV37/jgxn05U852cYn5Ri3T6SwD5AS/v1ZSA2w9+3f26dK4xOGZwMnftt36hxJGo86iBJaVE9yRQQInry25uuiVYEJx2VKCsshbufNfvy2b3DkTmsCL/IudtGM0cKV4fntF0AUa+QEobmza2RjOsqkjlKQutbfLg9+RarEdQYwJBWqRnWgoOzwJzh8mOA2mYjObk2OtBKJ5rSkNSdhZKaEQAo3a/j+qY7XMdJ8+Cq4qVNz1vkTEMebPDBIuttzMAGwdeFAGrBjJI/n+uOi1jcFSPtqH5MIMss/Wk9l7xmMoxaSiNwQZqBTXEz6ko45r7rqjBsOaZb6zEV6CtwuGp7e7gDIxEER59UzWLBvX/68FT8baqMv/Op49gqdP6ssrEUJr3Mqt8xDzpBJDMB7CbzafsINQziTDXI1/2KZSV3xZX9moUP81WdpNoEgOHyPTqUAnQqblFZOMvZXdk6b2KxobEDrlJeWN+J4sgAMyj1OqP9vAzmJSr5JstXOu2dPV5vGyUvdFGtkq5FEe1PsEuV3Mdh5M9MSEhn8zdIvECTeWy/nf0aucXnJsH2l/Rab8p9i0jGoQy5Fx67VpobFNFoN+01gBaOXpdXO70kCdy9Y/kvu17I3yjCTY0fnuiHZmVsd63YfrSAyKhM8maQqBb23FlVG3kxXkQHD0wHM3KPeyE670jeJ8tZQukJrWM/bqym0bCeYTW26ddHGmqQTByNRgm3U6+vhw7Lgq1Et93NBgAzzd9g5VY+iVXryLyRYe8/8Ug03rGlkPvyWJ+MVVRkwONMJuu0VvNfyh8xKgimgfvdUBSmTy4gCLmrNrthHqSQ6shuVAbYanyeut0tnL870uUVfjS+y+2qfMgJ5DxPjHa5MO+HGH5zZEhmWfn1rv6jx826Ov24MOjbv7plLJziUrghE0gHFbC7o1/YV6TgfBmBF7Li5Cn6SAPBVFPtxDQborAIaALRpuJiIE6W2VqbYeaXptLDBvM3EZ8UBa9aT09Z4KWuWtee6p4TpkWAzkN6EiJm5omVJ24LoqEP+Uswa4JlkoYsdth3tSwAQOeHFvIQThF+/c5ZBUPt9+msD2XT2gbFPkUscSTXzqQY2YF0jDZB8u46wmT+TrQz3SjdvlnISzg4DgAfazGSRNOr1I1GW/jaWwz87rnMm1yuk61EvhDssdIm4Ko82iLTmP3cskoKHCBt3sUnKm/1UcnzsW6+aRY3lawYFSIz9yYIGXMD8O2as718waKmLTMXzEuUsytEXwzO7LdTZnLA77ULTyJz21T5htaxS8Hp0fG9E9mse710XtaETIQXrXSNFGCt1/9RdKExbKuSuYQKvoYvNLO0Kj0AfyM72MOI2QX+5dHB1WCYSKT9GfYUmp+xRMP1zSTT7p49lqDZrWhbZ8CUK/fWfc8Vp3H6/1ubhZvDmOWnbtpUD1r+2TannyymVHMQQVfGv0LQIpKcF1YRNIkiM2bdIAQx+AyzRFHBnzrXxJg8bL/2GyPJldAWuZOpjdYSwTWx0t6teGFjaZRFSDO4QpC3GHVGiAk1CMs31tnbdEXGtXDOlJDOO8MuRxJaWMrmdAV0bPZy/uSim77tM4qhRpYIyGlo9GwTS6zDJJTbjlrdPpvyhNALeKQDNeJ4lWVev9ak1TVJbtQYNWjvbAdUAe0llURQ68mkX5Qxg2jzNkfjeCJKpvHb6GzS+YMNoOaQXjNteT/SE/wTUQg7JccSHzla9TEPu8JZS7MsrR1Wrc7pQmUL5GzwbnHv1+zB1uxR0gHGewCH1e0IkgEfxkzKRlndnFyhaeea0z8wTjaaajVtvo8XQ0SIc2eBFGgBxQ3Ekbe/O0IEZuFrqxUooXR2FvkM8pa/CvCcJaP6jv1zMcaSrYzPaLzSbjSxVNQ2b7K42OXN+AItg/54VtuY1J3x5dnZto2x2ek6WNejLTCgnr59km8Rgi5z+bNpn3PlOpZr/rKfzOB48Ntfkx62lQ3FEMQovWbRI9CG7EY+ohK+high0vpSZCpcsj0ILHYc0qIIUFyvKDe8qDIroE2lBjxzFsFI6Hj1srixUv0hLCi3lhEeMd5DsojiNUlCEj5CpnoWaSmrwWgqTTV7WSS13c5PvyWzyKqJWSUbodDfUXVyVk7LNz2ShgiDxva+vM6QVKJ4Pd2BN5SAfCyp9O4mrMvqmScp0J+6GOtZqo/y12bGnTaSJ+ApJqB69TM0aI8Uk+djN2U8KMWqpe7Wr6fEkPicOwg9ggA+Uderid7zFCj31aUzeqEeibvmsHPe8HphXPS14JJn5OM+eOPCU/mu8X+j8fZEil9Ws6QcU5V5h6y4wZiUQCGkdxPOKxCf2l5SYOem/qHswIi4DVYvGasMkOP5FF9+jAarFx4E4VrXc2Fecj03Q7CeRMSXD3OrJuGMjwlkHBCwwg689dU0hSdKQnA0egD2cg8PRo1mvPALGDswe3qS42SO+dnAH+kUQH9H23fTN+K/gfFS0JkmJGxf0DFq3NV4i6gNKsl0gF0r3M6M4vclsMV2bcZnHA2QHm9nXX2cVBu9wZOASeUXzGZhv0doCdHf4AkAwmQjM1ZRYjdUb/uvhcRiFOmg/dXXe75GOqwSnDLTQcebu0F0csQGwf3ZKKqkwNJJO6C9SPmUOGGlUfIGmrgdoh7D1lPtlFkN0vlEfOtwXVojFvKUeKhXmowtlbedWzuQIFyPE3AOS1FaCI3a3I8rz0PbjTbiYJF7z2et+PgpeSL+VIi+nIejvCg5HR4zrWWirLhX814Jj2dDihbdcVC38SVfwweituFoYEnOkE3LHABHVNS0LKlvPHlVlEFJPpsOAoQB5vTlvux+o90ILLQLYCk3XFRlhf49vLuyBUsfhXMXbIYwkvDDsjv6kauYixdO9eIqVEmWc2IQgjilHVjp0CbybO9q9P+4nWlaT3oSrsmzPSm+Eob5Y15nJW+IRkaweKKQs3btP2B8ToG7VW/nGRKV+4i9iw7TrOGDbeWyOFAnr8iY5f7R1rR/JhjaGVVldKsgiXwc18Q9ZceWnAdcpzrBeaivpKCYUGN5CNhunBFCeoufQSR5YbHEUtm/0ZBxcqk8DNhqrQXk7Y/ZN8T+/b0jKYgLFfLde/6Mdm+Dq9FEFXajI1dof7ECo3dpo0s9Ne0vckmgKF2rIua3krANT5xgRkdptv00QylVnqeHi/7XVj1cuBAGiyQq9Yzfofjcfq1hfKtOWY1vwOjkCzHnWXehn7Gy10f4+4eywfVLbVuJoKLS9xaHH8lbmJ33T0QpV/qFdpWOWaXyJx0D/g1g8OEGLvFEYp2Yv/4N3e/Xdsqfxcd62KQa83TikZ88w9TUCaZM1ljiCMi1ZXyIOlYc9CY0i6HnMy5W6OkReZFom6AypduKr5bfCzgqg/42vnL/ap18FTYXGPNbUDi+JRStZ5/Go/YDUTNUhY99yd5vjoGfphMYxbntGt+86N1u8AD4Vcdkd4m/2l5b1qW02C1tnLSLi10ySvUHtvbw1CyfTwElRe9zcipgb0CmYTrcqmWgEi2axM7GnsHA2Zewlwsv4ZfJbb5T2pjIKw2AKqMDSH68RQt4urM2HtBrnNjWdj2DGQaNWHKFQWnWuf8/tKXQPYQjztJ2uVb0Ixewr47MrRYPYUP439EAjts0XqgIPaGbWGLypbQHncugmCKL1v2kZsc4QmPULOKUyISNfA01oMuH0+DnuNDYpm6kDM1XE6gKVuj5f0rMQtVjvyKflssPgSKb7cCay0mL0nLpsiV77gEDiJqwLFxJfsQ9axxgMsDWhWKe64roKWJDtGaghwmsRyE5P3Bb+uJMEz9moHM28c6YEPcnL20dM3uKBpju2LHdAwL0hByKjB74+G+EdqRcALJuLvR/LKlTsaXOxfEz3qD+1qz0n1km9GRe24/illRxaHyRvw9dhFBn6WMoJzcR58bZdoUu/Vmq1kuOZuHwflLay9Zc9ZkfDF8m04R37eFXurmm2U4qSMJ8oU9vpzkhZsBmbT/EOe8gTkxdrgafAy6G7JOMteD1aRm/yUjN/+77ZAGMTR2L0DAMPCIQh2NOXBE9NeGBg9dZVPaQPQI9sE5vxouaHTy3nZPqF+fYXgLbsZLvV2u8GAj4P5MvuBCqiGv2VETGmaFqY/eFZYtvyQkrCTNax3U8Mv1T3gj352LDeGRiClcQeUIEWgw95loGOI5Gnv28LNmj1DuUkatGRJQBHCOJf8MJGeHYVlMg2QoQrecX1Rb8wIo2+Ze7/42+smKTZMx1HfzJz+WIfdY2Kfs0C6KFoOwxo3sZhJM7CFCxKDguFNJk3oq8dg29O7Tbe5Gn/dycZr9+snkbUZ7B7fnd83C2CfW5l/nolqZ3pu8J76WCpSgeyiZllzNTP6aYblxgDdb7sqBdWDfRsSTU+pJJjkD4TALrfkKfjav0my4Ifel+RnLL60M83S9NSFWeQ3Cgw6Koh27eyPpvsHpFKJjQ4eCycZoScapZn659NwlTFMcya5xwUKo/PDP5v1pDcNItnkSDjaUYNO3Up9yOYv72WIJf7yK8RcXhN8nUK2pFOzdX2skj83jm4ciAVxS/VWZA/uY40WneQKAHtfHfbiiVOcjA8m6ZPapjsWPbwjNqyqRNr9TNLxScWCUZvjTq+dz6Z3cThNbVa3DrBgPsS81ASUCRFLF/SkZZd+yVECSLbev4qfJrK/xmF3PTRqsz+C4c+2QRlZ+Wmimu/wA9J8QOaLkNC1KXyT/LOKvTqi1ZGJlPKzyyty6LzDK1gBfxThgEhab8IbeF7a4EB6gPqySAkRT148T7RmQWeKadOOAnRczMfaiyaee6h8am2JWsJYkQOx4Vp9FMcAbVo6VLj2A3uL89JxqnCOh6+B0bOyS6IRT3Tis9qhME6y+FL/Qqk+yW6EJ0Ke+NNgO2mzX0dFH3KLlGrADJqza1zb4E313XwqxkbGZi8IJalLL0NTcYHfqqtgOEk3YMKzAg0ygq1TG7c4biCz5nutBlo20bM8cIPoAcbDdfFp81Cbypgl7DGnywf7fxwk6rBbSEzEZegJ7N+OM47Aqd/JTg7uBEaCXHwSbQOmWRTBVz8YhvBkAZjMyerrzH6uH1h99MhkYiTDlq3ghMDjuTFZACf2o+a3fw/AHhEi8Wi1UgZC8lFdUa/2o1tSzpDMYEJWJ3UeNEKC73w6jOmOy2CgZjGYJB36YVT1j+XPETX8NuGNByjGWNeWh2Xf/FB9mtjTC61ZX74GJDGwAw1qRusb/cCZYy2zlWlAdjMjHnw5zGfYWwXcUISVwlayPZk2xaW2Fzvbkk7b98l2p1CKVDmDriVi7k1RdZOXbewR8x8RwUGsYyjHtlUlzAG1+1fe3pCVm9LIrRElLEIYt4dcq41lhGPb3jrcLNKiPk0pjhwcSfMkEXEsplaaMeLj1701TyGY1X4IeplLwHvTkeoO4K4GFWyNEBfL8kGU7xo8KjTwVYZDyABY+RH/BpVQQpO6ItY/BqIWzr/G7ifFM6BlFTWxdtijw327pBoMYTjIchcpn95j6ClFWgNp/QF3C+A+FaOfsQ76xXq/Cui1vl7XIrCE0BwxJlX/ZQc4k53N6XnaPK+lxlpJX6gkibAgbugysgqMJYglcTySV2h8Tz8Cxvk0L1wUbfw/etxBXv+f+DcXQqnWoRKiDilj3CXkB5awQwsjR3qEa8AAN8nvpWyXcIeOkBqAeYcAv56sGGFBpTao6Lh2ZjUsNtO/Xt5pAMJYNYrl3l/yRfWZ4A6Keihz9AXDQ4Ed2r6IBantdGmG+eTfgsGuPt82t0g3N0r7aYg9NjlazmxdlrUirYsumaDiLcXPHkeDZdC53CJFX+bQI55Amz87ujkfXRM8/B7SVg9hrgAyZFsNydEoINQi22cHQi57jkz3o5EQCoAt8TPhDlAfIIKJBIEiOYr80EDbcmSFtszLEYHmpsO1Kd0X5TlwdK1ME0b68mm2T5nmFplY6spvpK/Ps8W9ue8pW+jfalQV9TpQZboOGKjVuUtKalJv8Lvjlaae6yM3Q8kqkTHOgFcn8gMkLf01D1+O/oEdeGP6rFrbGtPtmd6joOWhrOSZlQmqtqItsNDYuM1SCBXX6qjE2+nDlUaUR39Bc61aDWZ/0Tyby+lTd1BeXBADXhxfxrhIrOz6w8fT/1DswLFJnjp4GfkhsOQ3EamKoWyHxjRCfKsotobDayElUMQ9ic0BfRYkQCsMfBCNxeRmsXoQOj9klqLOpd61yd6N+nV5KROsNyX6W2kQwddZJJ/Z5cy1zNR5WuIadwbR/CKrccJAJzEC5sVRbXOn+99oEkU0kluCSz44BSShsvT/f9e+eUraLlczMWh7WIKao3FrCMYsGi4PUmkBwGjpiu6gyLyZIb3N8FhXPsIj1gbFcc9D5PkDXRM6epSLDWZ080hmzlrjPJtM9hHJbS2PGrcwO8PvaKVOPzFzXI7bkK4u6vFPV5uRltvvXfQCZLHgxFEGcYOLstdi/R5MOYiDf0pDeaxgb30EvSn8HBiU7oCH0rx4e5PTrBtzrP50tQFGuAEwICRrgFqbyYnkThH1VdfOvZ4SmvzEkhYoNF0ajJajQTL/XbHqOC3ymHG7Su9vGGcgQ9ZyaZtw3qcXel8Sjgs+E4q2yX5FFL0MQhYHKIMnKcMCf6lLKIe4q8adYvEaVFpgDN9edvABa7CiQOaJhpKz7ReeMYLcFsZqdKiO786/QVJJ+Crt0Ch/eBx8MwJcqZi8g5OKHePzElIS18mKOFTbDUHzB0rbJS4+fSaTZUsKmHZL1JNiL1UfF3L8VWhqWhRaBzIICVsfeKvYK3N5d04NifilESgT9t1OyPcg89fhWz62vHINqglYaIcQUfAkpuJmRqsQkPdiuQLA4+vJKX2mxDoFuj47zLb1K2hqZGG39DmGVdSzzBsADB+lXt15otA5Bq8cwRqhAVC42D0kCeTwnjBPdTQR1oLNEp9D1yyL+qTDhbsGkSyvx5TE85tTMVRDvP1cOG2MS2VmV6+2XaxdMfwMeMcTjZm5D5V0Pu2/73hgwZrKvV8ZY/QyjD304N4T/IWBIMsBMIGuzwXk+E93S/FmvrwF513lXoOLR6n+pq208QPBpwKR2KQUPYoOsrPsplRB2DtTOVvvnY2QxGmlfVmo8Ewvgd4rrO4sux9mje/izvmHk4nqzFpjtHnIhWdrH0qABA32m+1xp++33vUK00HZoDI2zOtj/Ty3Csix6GkezqSnLSqQ1ZNgl0sfD3+xOEQl51tll8IPsaeB3FPBeuDeNMAF5jaZ6pQ22/piX2aJ07x0tNOiT9tNNRSBr5o6TyIymV7Vnf3eyhqAuSS3Cko+UwrU2zAEtHVSqFWqMXXwpf0bEsZbdjwpmHLxns3avBrahwyGPa+k+8PtaBlziZLZB2TrfAYVIVYTTqj8yfX38Gsjbbe1qbKKPjKeMdEQHXUsxOSa42B/E1o8vDKxtrJVhILrxpEm3apYoHpWsE1CLUgpjKfJqQ7aZZzbFNRKBBSj9LmiCmzD3qaZoJR/1fGThBYwOfqMJ/Su7kJj2hPpNyP8L7GKYVHYZfDdi6XTFIenZDMFJfr5FfxaUXyvpAGT6oRMdHxylxBPrE/fojt2wxj25edCiS+RTCdo2tfCzo9A61Hd6rE0WAJ8Lc6QIz9K+46WEVjulKsrz3x9BDESlD8Ge84WpglpbHEKcx+w70thO6dIxQJrTVPY3veyrAPYHgU7XlFtwl/50LoYqvvw2mtQ0hU/nqSwLEFtNjHz0JtX0RfLB0Zl5hrx3+WgNdPQQ3XTWpNE3ARNAYxP68GTr7qhhCl+dNZJ6YY64OfIXaQbpuALiMsHt6hpCVCiXIZoy6fEvkPVHJeqOjQNOOdkvT1aWfourfE2UJlncN1KMGuIHzxRyYnowYBQSo5PufWUZX0JshourwN5sbuExxfcT12G3wS7XxKsJEwdxi2HeeqIdvvC6FDLJw+k3k4L73YRTI83vLFn99NukfV1KO2pg8OgOsxYn9ubprjFI2lojjwFFmyIvNA0iZt7ojCNGEdaC4gdH2dhaERMvrJac6WQuXPhtRlxBu9qr5YhG4hr/hQ1W+l7FftCsx6cRRnfcOmP9M9HE0FOUAvdctqDt4IGWyoRM2UeEfujWxdRnGS1sgnIGW3df1mc/xmSZkgzOID08pRsCcZm9YRMDQgSd+BEV0iE02OiLjt9jyviaEuEkfsnO3IBZsgjVEX3Q+mptHIyjrRkiUsZTuRbyE3U8df6J44Cqw0G678k3RnybbJFbL1diKU6LpuOzHExegihGrcwtslfya/v1yi/U9CpyZAMvxAN7lLnduhBeLb5+F8FznMh0PHsJYlb99BuXdhU3heNfI5rlPKiJZzOTLiKhDmKA0GaAXbCUubId0VSXsfjJZnHZTlRMxo0Fb4y39GII2QKhcISyYFqioQOtiEOsjwrZUmMH6B19nP0aqU80KkSGACPgyy+oB3jBw/txBAwusBBPW+kyTFPNZ74tRisTXL9ER1LDVV6YYpgDqmBWYOPvSLIYJsLa2XgBS/bHwzNmcapazgdaJzSLkcvw4F/JfdDyuAeF04IFabv3hqFrAnBVl0qBN4Cl+m60WD/VujXeBhMA22legiKWWpgfVZDN7W6ARg1eOR57IKhyskRU/lXXwjYb8iSOY71z6slAiRmWgAi3Gm5eIZzAMpXX0YZKgWo47Ne39+n5rYCySvWTRQOl7jFgmXp2ciWl67hwuJ81/35+5fEdfByO/NMcOrVes6cb1Z5kGF1GRwOdEeuJ8jPgs8ba1rpP/ffnL5Y0/4z46zXTfogg6soTCyLuLZBzdjrnXwUrC1eZoGDjL1eSosTHuNZRDgVuogBSxZiQHlxak4rJCWgVBtGjJFz+jMVNA4AACBRR06kGLobfOOJ9WdD7NGnxtnO8LcsRFepW27OPW19gat2fHQspH8aKv+a1rhAmeBjv2vmUptcP8q/KTVfcj07/Z2+53epaXdRJIAzwyP3VYk4hAgUy9uJKCHakZWj4zClVy7fxmZnXTgnlMu7yPp1FCHomLEML9XmCM85lCZkljx8b7olgwumVXY/vc7qkA1WWFR8GFmSoc2Xtx12tqZ2LQP8wQDvl2zknKLBapJCf9hfbosdzw8lrOT768+bD/mYbpxr8lWVV6R4AgED2Wiphl6KexmmdPOnBjaiua41Z+/Ng3HY0CpEu2ZSEdzTHAnRkfWglAlPUUWgjwQ07AcD3tkxU4nqL8ol0vPps+rkrlArt1iqkxHQuSHF8ppF8SlH01Rl17cMv9AgFVnvMuxbfYN1WNI5cXeywaZ2EZ4hOkwHXgAFQvR7Q8ATlAv5Q6V8Dr6FFHBz7AmbUIkekoe5pfqn3eYyUu1dWpglrgbVxdU4lWecetTuJ3OArrfBouH/8KwMGOP8JZGCBLiO/JmUHvf3dbqIKSYv4M/PZQTpgn+UNGPhCcCpme0YGPiXWdMai0LJ++TuxVHg2zLZcQcE/8XmcquL70x8V9tdR/YzE08uou705g1CIsyRxjypDPOLa4KjoFGj6eWjla+Qad8uig/KtNL/bFHA0wVAJ46ZDZbEIwrn1cvRVVsfr/R5fmvMqwbcepZnerPK0l7uuUpAKWmSzGh/wMp3IiwhnPkHRnB5AdaGrrl2j+4IEvs3X0LhGG4kKZlHDGeMk7olOlgjQYdEH1LmU8uTApR0ybsWrC40XjeFxwya0ymqAguNNPvxDA9umrcAa6vo26M3Mu+8ocwcEaayBlGB8GQY1NpB7FLVnChqYZiVR6q6H/8jCIRgjr5xOKGZqwUzJRPoUEFbsr/LvHUnDGP3n8SzbG/GFcdQmH8bK2UgaLobE4kzoS330hED/M4ukSTuqJ6lJQYC4TXCqvXQjPhMrw+cxBYtr7JQ7h1vmRs068byRkJoHoHIMqtkw5cJ8FJKWGe44e3eFcMDZ+m0LHWyBo3/0OMMCtQsr9LkfGM4qYV0woYBhBJjennXagPQy7qjwwvOVGJ2GS1zZTUBsy6GMj9TWYu/z1cASxsMRqjbWJqh5QqLWp49NhHnzWZJl0IRXrGctZFkJ/vJBlmYcUANAVrz5fQapPK/+4HeYpKGkShZiptPdtiNY4LuTmVeAYEStiUzla+v13BCWwuw/HXBXN21Aj1BR7T/OxkCTY8bs9w54WHw2sHbRh/Qngeg8ruQxnXdDwoQtTPaF0bKt3h5XJjRyupyeZS8GSf6DrCEeOFEeF6RvcK/h9q1szVP3E1kUIzQRLxAFlWCL7IddY+0Os9+i9r8GGlh2JLqQF6JmuutT/EqMR3W6SaLGV6XRo8Sh45/H9spdlwMFzWPOrT+8EgKl0qOAWGzsqlebCWJwwtIkIWL0eTptzMI8PEyNCeY4QzcbGfXyEnQX/rwH1jMAZ9UlNRPbdcxhuVy2EVUErcmC6Y1psZ+noDhtevRn2mqeJt+9Uz3+F+chtH/7oKZIA4GUd1H9DETG0h6OIs4n5byoAq5APld2HP2xDhW2ND93/IbFsXcDqf64DVI+5Y6IEtj85IexTR+sKeU+z98wYm23qcvcbPiQENa8DfaffjRKkZFh8h6gAiHwvpkT4K61RhFXAnQcQC3dc8LRvSixNmMgsrKVw5iGxxKyFeyo4T/5XqQfcuFStYcRpxRCgaKEPkD7kuxkbcWwwizpgrjMjPo8MEOacafuvyXXwpdavHY/OCImqz48CBGADa9YWnuEzIpEtLxdOV8eAb8I8Ue6lgrooBP4KLyq5Wp86yWPbPtSe3ixbScZAkNly/Yk7qw2TLJ/Rxme0Qjhir6XXO0dKYlcrIZmI7r7Bnk0rFnnEooixBceRhB2To64sMkjFwScRgtn387sn8kRYiuz16moBlSciSmcRImsJUxz387W6ajdk1zFgDIQrlUULhYsHwOjZbi9j0qNVKT1ZOWB7X9C7k4ZnK5XAG44E0sAplY/sjkTDu8f73GnyA=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52400" y="838200"/>
            <a:ext cx="4284821" cy="2618740"/>
          </a:xfrm>
          <a:prstGeom prst="rect">
            <a:avLst/>
          </a:prstGeom>
          <a:blipFill>
            <a:blip r:embed="rId8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a/oXf5nEOUIpDbBiyeHXG3Lg5eYV3dLFOKH4946m7iICcmXaxfcSRqJoNzW5+TcouL8GWVIvvHH/82UGXZ3yn/x3iqTikhoieLSrSriY5JCLngRY6CwpGsi6L+m79L3wCsx4cqd+jNQHl7od88ACG32Dq6iNSHa2CeX9u+RbwEYlYd7D27VNf1u/GK46zN38CxfECHFga9uwhbplV3shD9wxqseZkC+s5Q3ltVNNc9izqqNo5oBJcuR/Ja2L+7TYXwK3Og5TNvXkTIjaN7FpVIUVzEsfsrbF7eONMdxYOTnbMyTZYptMMQ5hhZQcrPTalJ/Z9khN2qdtM9XBvzE4Ktx5M/5qVw7k7wWahlTAsTsMzkSmD5aj3apNlB4jyRVsWJmyuoBX1Z3jElrL7glpC2KJwsxMMV3VCjhCGdFOLIrWwazg4RfAhfn2bqs4wm40PV8ro6dzJ1/lx8RXmfGKX0+QIVpINzfxKw32Z/s6+05iV9Yc+LT1mX49kO9gMhXSoGuCh7W620H2Uz7L+rjgW3Owv3duK6DkgMvvuXr6vYOqImREujEp0ESBQhz2jsmnFZ+EXtrWjrC46PVxEUFPbfUUac7fXihD0hO3t0fuNowKrLfPgYtgjb8bfSMY6zfVOcjFaAztFi5JMR/qhIfxzMVvBcre7w6uohQHIENA9WRnNDdBs8uX18aNZHZSz5J7EtZXBa49ihBWWvVfLzJQr2qpkC9r6pQY6HpFiqfh1oPSAEn/5DVpmAVdJy3FJZkghtyelkiEWYRgUOTCdvRSetH4t8SfzUPpbetQzMaOxvL7PGoCPip5UAYxccEyFkb8OdABgafw14eBVHnb3PCTXvGovPdcphpvn+7FM3uApOWlKQDBhCe/OtFupnCSnBOIaQ1RZB1F1KPAE6iWY0qu98FN/owxlJTWNRhke7cKUF2MC5J0AqFETvUr/UADAgb2XflSBGeAB7KmWfm2wDpcjxY9iRzykp8anHVW5PG40ojHTS+s5pbzO2HF2gVxktd8G01jZWBeO6KJrwO0X3mVF9E8hXzIRmYfUS0d5hwJMT6QSKYMYcN29IbsFBV9si60qaF+56SBqlcotjIW9n8XTQEeuKxjCA69hVaWi77hjDmWzypcpg/+QjpJ28ReG6dpHH0kBRiie9xOndicr/hB6ibLs8cYFN6/Sz8KjKvrotFSBz83/6I/y6n5vq8rOJ9xJmZgFXbLwiq0sWjMHYJJgIqBvlr6lcmsU5f5dkcdFstQLXlC+j/qDOB4Dfaxvgz9SvtkbENVIMar5N9//TganEfRGTz54fgSHbF+nH3JJqm6f7rVGiMrrPC9a4qYhi+2falHspuQTtbvWGlnjAhvoFYcfyTyX27TQsldRRUgGqtJaRBHla1UsKWmLM2/lQecqE64P5dgfuMrQhqAr825lXYY5rv3xevTssIiMaA8nz1v2olhY0Ra9uTHjret3LiWcQGfBR6h/e5UYx7964GrMzWtVHA64BiOGc30FBTYvO32+X6ZKFO6FhjegizW1tRkYme/bnKG+2yy29SivuO4Vc4UtaNUive/FP6LOHjJC1KcFVJp9I2ey6Zae2cfX0bDQO8IkpEn75i9/EXa7+GV66hx7w5FZmREMdDWZWnvEkSOAAiKey3hR9aGh8sfr+ALPlX61jdBXc4ot9STYgDW2fu0tSNJnGelALmqAfaP0Qc49Qa1DsNA7bu7FAMk2KCKKX6gUeSCr64AT0vG2UJpIVA5KVuRoXcPsOk6VP7zkM0NyFkZjVB1pio9uAJ2JfoDtCs13UWtvbQFGqGD/HdDlVWLbw0MI2voxGkargRI4ns8SxL13dkk72c4uNPM+QMwJRYwGbKeYYLGti4gkeLAV7b5EWewwlvG5H3oCFCd9TF78Pt3h8GGwThS0hP4YGiqIt0JfbtpyN3kAnoi+wW8b1+lksQe1+5OQyK7t0sOUsMwKA9MLvcWpuqHm+2pK1ceeKPrBw9GTZTFAk8NAc56L5pQbVIp3p2CxxwLiN5aDCfvUDLFhplGu/xSYKDVtBKwFZ3110HNZkB1gu5fmLqA9oX6H+XPxojC4HNYAjOzUVMDwLjgoroGn3jwVNLyvDZMQg8uG/Jz5NJNU6jUBrXEGTR1HLOzZu3KXTahwwDeL1QUiWkOcnGPzWcWcMQHqdAyBYsE0jPzgPFbZFK6pD5DIaOkBELibI3t6URMEZUglr23EPDFdDcWLekG3KN22RgQfDbip9bRW2wluqx2d5ftWEETqooe9qrNVhdWPy7AJB6tiNFH8Ng5e6PMv5efveyp2buy+gnwvZdElMlKAgVelNNpRTsiCT1xAFYA5hvwpi8SA56ZefDZvpefJa8ZSeAm5kL8OZgm93eYz6I+Qy3Jd9BIkgcPYEamcRb5YGQQ/hyYpfe6xpajWgO/sBOcAhl6uWtfBwCVUepB9sWuoOipcnqfrhgQsLfU0f9bohxGpGygvrzCD/RbiMubsCa1m4JZt8HOprFRRaxsGQHVrEfpCEls3jZL8T2PnPb/v5V2OVhk8PsjH8Z58MWesx8T0c7FONF3z5L7p9Zxd4TdSyEBln6+jDO/SbU2C3ThofWkKxkLrVh2yPNSJvwCiGNZVC2hgld8aetjbeos4NdLpXVX//TGBZeCJ6o1NM4oL9NESfk9O9w5ouhEuz1FGnFD0Z4z8bW6SoEXdbQCP619WmJRKKOVHnZyjpctI8oxCg5H1ZmzoR8RwKCw99OeXlPaI8E5chtQPtzlVWvXzwLZ/ixPmTpGC2rkcog4qVIcsvFJy+7VcEyTggCzCL6k5EE/cqq86Y57dlxAV6Vap7/Q53GHECd4p6wtmCJwva0zVPv3A2XEPFawqix2ThjJgoXAjKNt/EJSHbDtbpDE5Q1CT3WBwVONsWzfuK/VOhf0SZDhfnbKNiL7gA0BHhsLK27ihJ6uKuX9JjhBQ2rCrcFQykkdRcY334QhUFPefpbi4THb8qGYYR1EUc/U8X56w+m6RZHELZJwpVAGF4WdvsgeaPj5rJcH9XIATzgKNJPnKGI/zNmwdKlENViQ2A+j8Y681Fu7qZR/HyKzS9ONAMISDilGGmFBdlsxBnjFKmPwI7CqlsOrTHDfkfKtLOf9id12m889kPfjoAyKohypAwmqJ+zA7Wn/eyDPz0Rq5Qlz9KqZ8JFvWQgJfxIguzKo4YcNPwmqt6n0NHV4Oi3TSDm0ksvOM6KJ/fWdlQs73NZ8MLgyLqOB6HhgsihG6k3p6FwVX0pO9fOV/ZqE+PqHLnVD016fYgf3S3/pLd9Bki+jSEQdTuIe3mS0apnb/ww57hnfRxk3yufUeodTS+T48E7mjDB5nZrwbJm2JKQBBuQFjN83J7uM/TbF/zJOeEX/ieqZHdgfRR/kYrIC/qx0E7kSpN4/MvyM+h9ZIlXjlNx0ozSGSRi6I7dYlJjTYNdH0XzatCqn2wH7ttGEaWVeANS2eH1jgj4jvJ0qRh520OxcXaMzSZJ125Fybr2nJB4ajrZQBtVnbgvSYtpT8TSqUOyrFqOpQMeGtd8MtaKp0MA7WOXtDLICgz0MnbY5uUFJNusYSsfVc/4Skn9bJ24osHUWtqA5UjTGyjzfY1kAG50PTcmF0jA241ULd4G/m4ZAwpAd4zWZ8+pQq9UaJHsBLMEWIuAPIuhJ2YAMM5tUht+AkdwURv3xT3qVXc8AqOSjVw+ejW+FJ8QsTpKaYBfuXRbccgJeYOj1OS+BlGkVk6Z6SkA3nLLXrNnSFBDNgY5ya+HeJUcByKsHo8Xs+0zRx9szhhrQTtlB5+k7n/ZwF7ygYaEg6svHEOetwXxh5spl+rt3CHCoeY469FhEqbU5oSyPf84qlx6zHcf+5pibzbnphGwYoo1cvYLyi/WbQ6+ahMrhZLfq2KjDru/KZG5WUAJVor9s+zTUexVTs+Y3WUPLycGC2UNRS0jZ9POaRQPKe+pXeZhXlnSH9s7u/rX+CulQgQduTH/zBJ18h2V1z5FdkrcSQp+sw3u5jH7pzUbtiOdm7YShmxGOca8Y8287eccVvLY3hWNlGXiRBnseathpCFZETsOEZst5qH4xHhP1MR1kyYrqNjcR7dlGpLQ2A70E0TPSDPmBzsm7alLGCBl0pY2s6O518FhNDFIlxy5ICilyA9fsS/PMwXQe6YhrarC8oEWR4E88XG4P7ADeixZY9g2gVEvVKQeD4O5UmBzYwFpMxtnBQwqvirD702nG0UDevHtSPr+rMUvQLz/c4zNThNK7HqB2Lz6FxdtouzygL4pKZXwMCFe7BgYUDRFKsYll23UyQwCrIwnf9h7x+XtApi8oxDjLnRA3iqyMKJzJTaSlnmQhLFNomu00AOsxurtInapqtvm7bpC37psCOtLOE8DLoCC9v9h9bP//lKUtT+oy5NWEwDBfPBvHrbVjvQTLf/H2QdWnJBSWg18NIK69gJxj/+JLlI7PtAyHTlhrAGL1VeDR8F8ZIQFt1qPg3plnpPCEVnMowqtK7hidIAsKui835oAlBQolRhOW69Z2IZsINnPfPEb9QlZzaFIoeHZD3SvJGiCIQakG5B5ujA7czcEGQhJVT92QUFUzcXPnVfYkjgR65m69ooc+V2Gm+9ekHpxftUp7qUFQcnAvK3N4G9M+RjP+Ubu6HeT7JaFwC3dy5qBVX5dmj1RJhgO4zj34IOpvMAAd4KD3ti5G0oxX2S7wUs93se/yn6AGUtYDUl7XP4N6J5aTCkKKVI71HakCZWvDoDrbej24YFumCxMOA6X+VTiKEiQV/7odlGRtU7pCN16epSak34dtl671HA4AI5jpfbsqi99mmTzodMbmmRs22vmK4M+JpIYIqFV6JCLofhw3C7R1KOJDFqUTEwhOlb9+HdC4lcmXEZpkpGUwlQd/DNuviXhyuC1n0Kdb+fpI3lCS8PBFfvg2KISVMiyVhhBRBaY2vSehT1mIL8p8gyXM26XEnY9+UO6fTIguBVo9uG7FVfKvdnGZ7PaS0W3sbC2uGaeagCRaovTcvpQozFoedjhVP91MRfrh380deVlCeNdUYMDDLgovoUrxoNAuRVE6VdqAeOBQ6ZDPSAE2+uDW32n5z0i2V6+X7A34POCI1poNT7AIDmL4QWyI9xl3AsPvvOnthe29KUIUGZq3+W1QycO+Gym31qXqbRpjOo4uAJhbYNAomgstfJdAROg3o65xohLkI120oWwJhsn6b+elapcrY+vYsloA7HtCLc1N+G1BmJDSP2HklbCmW6cunDGmehUC8QBqLvY2AdROs3WdEFVij54ncgfrgzbkSXgQ1BwWwgPZ1NUJdl8P7qJUpAeTQ85lJafRq2uAATjOoZkkXHlmnkPsCIieh32AhoFElQzjO6VyY7Sn/eqcpAWinCtI7pAjlRW3yElUWU/571QPSpcU3QHh+mUtqjFfydm0tyJkePUgApVZe6V/hg0qL/YWtRDLiQU+JbjHUFDjwkjAzBD4/BmPdX8hPrgDjHLf0ge3jPpRvNSlb/BZ4MZmcYT+hSyUaZTg6QiQcNnkwBIaxRCVXIGhdebkxdbfaFDjMVC5sSWWuRotZjkS9WdXUPvpJ/AtUGBi0zHEYyvTCSw588OYRDIVKvJ3mc99m0WQymhV0U2+D+4mKvQ2bEN3Wa08EurhC1JnixZF8FN6S0jUu1f3ZZfz2jqOoJ2J7Iv6kqrjwG3PSmr4IkOi3nfQ9t5yxnEHshPPE+edcfkBUY3NIMEXGCS660C/MsWpf8NgavjBD0shbxhrm/jeAN5ve6lRaIB7Bi3T1qfhK//xcqX+d4B4QgOTFdutYKEIXaBpWFjOg7h418REoUaR5wLFSo9AQ5iMGZJZDVIYHtXm+12/NBwmyJ19MVwIaTKho1IAr85b0MQZ3rk5ZyHXqA9Sa8JvsS03f1i0MXIK5Jo9ZxIfiNUuOyGCfggjw5PCfq9vLC8H0sQQ4D8dUlz4Vj+5FBZcDUh45dD8ZR/jU/VDTmAYUh7/ycS8d8EpT0n1bZO7/KKRafRtXcoNoMBCxI7yuaUCkv39MgmSymSJ8jfYjtQZbGt7XTEZsWCZb1yPbA2XAHRbmgDPGT11RjH510SvNPk96oJk8bnfzXUU6bQ0u+CJVrOZEoTr7h6aeX5GtjaiVBNcX9SKhuNKc2UQBKsYay/LtqW/YtwX3tVg0jNMjvzRyfse0NwJITP+lql/xcePz5maVVQ8xE/kgw+c5RhOSGP6r8S4KHAX3rdwVUz0PHxpLB2hF9LasiQq7c9dVLztsfIGIvDiuhdh86Nm/FWOXX/sGl0SvAz/6wJUWRBAb3rAwRV+htLoq4/bB1iaW6tuqRlPuDJK2yUDIZ1yL77BANcRi86Wr+yx1Jy3lwvXGsAdC+tXOfOd0NAlYIqp/JC4pUQL+gkKLhrs+d9/0PXO7sVrM5gPVV/sR0G8mwX7AJVpXTge5q2Qq0aOq3olQ8aE53emVZJ/0zsowWfzVcYmsJEr+xoFDCo8BLMPkbmhxCbCcNnJg/dGg/a7ttkvcK3QGFHFoXOc/GMcikUuwxvthAEZPq5IzxPVUxShzenczYnZURXnJnUb53WKMkvtX9XuUz3eDzF8RnPQUJ2ycnRz0xvkEMn70+UZ0VymrCpP7pWTtJOcTVm/rGgy0xxAZ9o7IgBEo+58tzjnmW9ff9DERiN/YBgrsgwGU21Oo+uMaC86bqj5Gw10HSl8lJoSfpIcWLUVNmuwS9K8ZrzW2HdRMczU1kWR7Y58V/T3b3mTyn5kPvFyaNkUT8i5i+lJHulzqPhhO4smfaP8PWpOG0nHFsJwiWDN7zr24cQqQS7DL94p8N302kSiV2K1Bdb6/ynd8Ez+4VCns5QAVj8yuMv2UnyROYW10g3Bu+Vi4g+EasBftOgcplmQmzihZaLuRSKpnMqZasK5FG9wI579f6deSi9oKrpNPf42ugDW0BPYO+zTuZSt2G3dtAF7TW77mVMpoSw0oASiTMiuqjXcAlYAVgYk9EzatAIurWp7KYqsj4/N7R9w1obTKoH/zQcUD9RKvqdTjMEbhKFVZnLZqXjRQ45d+6imgslaMcEeVNdZRwXNJ57Hh1iKnZnPGcCtkxI/do9b9swPaXV4paaw3PDfcAi6fvYk6Rj0wXn4U4vaZuqFcbg1QRfimixGhGNcizCBxnsjt7GJkyBsmJ5dWJeM2uoxTtrX6ZsrISB+HX4z3kuUK7l/M9plFWMRKbm/vyH08rkxyoOiE32L36A4HZa3ayy4wwIxkWqAEumOor4JAWq9s0bXFctk9Fp2KOicSgWX6Gd7+Bm4QYyeyNp5JEEDHnYslOvmzupoBkEgcP6+KD4yLlF7Bi7+gz67EdH9tsXX+r/dKsN1f/s03Mj0jYux7bJHwcodwaDJtEsI76gMMx5v4Atk2AfdASQF3k8E+kobiGbBjVZ3n1UfE1UifFiWWOGKbsfDvn8rnkL5MuLHY5HUJkm4AeP24kGFVR2bZniTwsBeSnS3fNekJnqEWlpOV6WcYkHV+p4sbAW3F9/jyd1oBHZdQbMbBcc1BVouhkIdtSdfxbZo+mpA7B5c5TTCezWBrSPOXecQrQ2fsP43pd6hUK3CT5/ICW9kR0Vx/ulNRkrEOwG8rkXvkejIZPLwHNzwCknrpz5IVBs+ZvW7YraKiLLENE/iMU55IL5ZivlGtOxc9req982mUYNVmb37Y649i1S1qO/P52ULrzgJ71EqmghpBWrVU58QdYHI3AiilmOE/do+M3rW2Rz2ezUz3VNEEOvRyX2Dlc0ONuT/q9AUouIabspzPM1kQ+PoUiTrNF2Po3VEX5xZB6iC/7YxwcKkfBmmnIXq3RgSP0/Jl9kiyGSkSgJ9nPwuD1NlVNkGSsGB3FOq7MdTyz/23zR796EEjjU+CcmMAbb50iu4LZprT7i19wFg2Ty1929TzoAIwrcOOSGh/sx6BqMwzGNu6ihxn0DzE6oYAW7WIMNMosoyNvgayXMKsWjfmcf3/57sP/YXOXW16GUToenzGa6T5TpZ8baRcxloB+ZBMuqKy40YTblCHR2TrFDRkLV5TSkYAWb+TjZJxXt5dYBEBsbTJZI6EhsQC2oKJHUEmLmemYOJqwN8aamm4BZrZ7N4tFKCWxppKxu6baPLvAmesCfO4wiC0XETnK7Ma1LxxWs9XisTo5/UXzGnZag4AH6XHUfOt3rwTMuBJ16xgj2eotyMoRjIisQtRsMED1pBvPShAXqf1BRm20UBigdcfzitzPnyXiTx4Gt1HdphXQzicl8gC18n1FrKj+NC3MOmxCcu9grJAhdP7Fn4WmVhCSoDBlcpQgj/U9vydv9NkZ6hboo8KoGgJC9lAihZ3t2TKW8QSv70GFGEDXSceiUgMmv3m9bEc+tQZh3Lhrb4UAVijXGuZeCmIHzREngi97dQmgSzTtk+4rz3NHSEyBYjwy6kYCT9zPZNUxqKE5l1kRGnSmIgUOBPvXs9lnUNeQJisvzpQonFgT9iQS7/piiiVdVtcvnIxZbabGRnNLC8h81eDnUfAdldJ7A5mxpIglATQsimjO83Qo1/jgFMLFUGME7Ms2RUVeoEqDnDoISRAoq5DEDPEhLntZGsOlxzthWKp4YQYBy80WO/08TB6uWlZTaKLayiY6lkqhmj12byeOeC9cCyZNY5DGPfWrndAAstafw49bFeIe8fucOQ/UVf0rlKE9MsMFlwZs77tDcpSHQ43R0sEIkj+81OvpAgzcJXqczMKIYiUXmWVA644p8754LLep1cmB19tV1mJrSdEu/5imCgfhIqOCcOLl3c8SdnHWStDSW5r5uPqM9rjOMQmvFyemRdRx+HfE02NVQOfcSzNNMmWvHp4lwgKO+AUHrQzLKEqMB3hySTLippwBKC/N0WZm4SXiU3vdJXDxhxVULlxM/a1tLmh0BUFNQhjVzU7Qr6dKRmEnpb3NZQby2zzQFOLtgL/p5wBNzvR4quZlvpPh3BmArt2CysiQRKrKh1HsvbQW4KtAeK/AJ1Db4HKqne6G2JxiSZpjaJolmnQpIYW6h1/F5thPlDoNGoCmeFwbGfLDGPIoLd5oz3kcpzRMZQv7S917Y1BkAhzZI3OW+pylP6rf0Bn+XoHbfCZYeit2L3aNITCMWlBBMYy7juEGS1CeZqER7HEwZCZK/LfI0SJmi/3QSMMlGf8FPzvGgXyZ2hx1HlOAwRQoF1LY1gkaxkaqQ4ltn/rz3ME7U/tk6YfWy+L6pAMEugEP9bT6hxF84s3zs607CscFU/ltujZ6w7aW3kwNJ4w2XVoP225lX+7jxodrzy1BkzCAvhyTNvyMHjPx13Js2l7dZDf82ZFzoI3F094eIll4mMvkm5iu15Jbt8+GW7X0vq/m77mlnhTSwdnyKjYNkH3idaxftW3JPZRH9n+x0zwCh/BMCBZvIZgNfeFy7pdLy9h86ODfP/UioQ2PbRMXE1ByZmCxG7L6YOy+pLTnYMYvHtxO410WhVHrzPmDFdAJpC1LN/wKHU8F7hsiJGfIUysgpnEGxzPjPO9wV/pLMIrmjBfR3jsP2ZNi6puWh4hFZoeuCtLJ+dajctrFdjo62lYcaDb3M7KwuKFC5btzpOQPsMr9KBodVrrtYBD/xPjul4M6wezba1tCAVkm3/QuOmhi1p2oRMOaYuWEQPpkOQnBDaClvzXmciCk/ixn/sSJPG6J9F7jWw/ySgbz/mnIGuRLIER7CsAxynbGG3iJ/e4iIypmLh++IGi/DmNHZBE5HszpTueJl6IOndx2ZjeZVAg/hQM5LYuJnbbgUpyqQ8ZwU2HTeD8glhWDB5Qd45q51YB9BE42WB6vUKagCXjZPbVhnqVn4rpt+RSZlqVExtiuRTGyfTBYwBFkmOuaPNKK0UpZtyUNOMCqfr1NUg9xENiOy6ACse0DMcONw9Q3UVEYVmBXA0dy4GGL3s/gDaQUUT2zCzRmcJ/mkFLlKMGo3Tk/V46Uisx+Ll5oR00gkztKPx3ZisxRElW6vlDE/5YddUEbn3v/UGdanrB9HRouotLQRHWaYeGCizYna1sghJOa3/SUV2baNMXc0MX6PLUYpqyhYnpH66yE4PNJWb6CMzHH+a1I6QCibFXqk7IbqlqfMwoUZ3pONOSB3egMribrXV8bKvbHbhsJpYaLVq93+Tgmoqehs0eFkWIafhjrda9YIrSGdPfhU6ffqfxsalWRv45nez0r4UJecHD6JxZClPoAjQKVgvqoSOZCasNey48ywIvG6fccaretuhIUNptEWwPVZv0D3BNmVk5wS4zla0ztQ/Uk/LS3Z9r8+8Di0uLALlWdaFFi55LBUhouWPHat2sgkj2nf8w5EHGRG/80Mos+gKtcNvV8sBg1izM+RLtZ4Hs0UK10NVMJ5ypc8rz/Jr+c0CPBOxdJSZLGxvpslXTBQFt167FJqs9bx8T6JMaEZyvOdsOJDMDlEOhjnONJURWsta7hbF7NQrMwFC+SrabbWqCHeqkckLvN6TN1RhMMAsPDNuZYiQoVuffCd8LF8P2xZd+1BXYSxXFWAGRd+VhukBi39FTWfESyAXH9pSeEXs/MbF2bRvMknIb67nMMcSQiSdYjS9hbfpaPq3jJUS4XIJdkGLJKTWEUQXMz7bpHs82U5KEj0z5SIUgPdTG7I7sG9BcPM4tf2rPso+wh5GqwXkkWqlJwGhBk69eR6f6cNeMd4q0KK6ldeB8KB++sEcgf3qD+/BHQRxN0LVSzvUiXLsyQfZL3Xg+kCgZ2kErvWA3+7GNTmi1fy4VWVN9NdGKkX8cI/OWa06+cbSt57k1BX6WPNDTnUVpdvYDlyD/xFeHgrH9yHKVRHxWh+fKMp6AvYrUEaMwczwGcwFCEczJABCd0hGgthrC5wa1E/72xALCyt+rr5ZeyuPf3AcJErC6e+9sVz8d+X8HYoRnV/WHSCDxYhP3DdfzG14c3hb5ScGiSlqqcLkQMm5LuhzewzNNnTZ9RMRXR4clSpiErLrngjOtB9RUC1zPKR7YrPF+UdwTOUQJ+xwS3vSiXwv5ouvywixwqKgDd5W/Ht1AF5nEWkggM8MgKHqhhb1zlEFfC2NJYJ7YO36ygash4edK0+Vy2ft+kJpulKWDHMBTjRWRMBQMWnGyvhXZQCPTRfforu4Ge31GefidGpTPvsTJUES9b/7c/teadB9sJ2BGACCva/qxmPnXt2VfkoGA4fK7TfSBQJqXNmlEIxynNS18DdnDCKHdL/bHnNDdf49miCRQWawAG9GK9rSUtUQum/Amkk7Jx+mZ1cMNtKmBCY6wv9ybI0uEQSGoM4djjr4D0EcqgrZkDvgWgox3nwGC9cinL8k3RRVmpWDJK5z4S0efFjNfANmCH3wjRjyg75Oo9XSANTFtHhYhsRfMRdNrTZN30JElYcg5/dP6ILEkZqMFi7qRsMRxKPYoyVrbuGWNu1smWrreqI+3WhCwWj9Jn7DW1yvfXpHzFlfE3hd9IMLe0CdimczBSbpBKdFxtAwBmaE2RJa7D+/THPShLFZyUiezA0PV2rY82KhZTCdSc/5t2Kao4rapdT64YMx3ZZ1AjOybSoR9I36ALbfUUk1iEzhke17qAqSEyWMsUWRADo8MKoK9KqnyMTlXSZZN1DXcZkzeTW7/8xTnzQwVjuWJ8Hzl+Yt+qT0YwLQ2zvtYUnTgbqsME3PHkYxhuM3bE3Ptr9V5Vbw0ivP1dvciaNIjicaYKrxzXMdf+kcbjtQ8LmmPBvNErqqf5TjFWfVzsi4iaybbFXG5t+ExszeP2/X8RT+cew4V+3t4FdHtyjzs8DyMqdJFXlRNeZEivPFwNR35H0H7Hvku9V7Szjqqb9qSo6/raZoCVk2YE2/SzEH9D+QXzYMXVKE0gmp6wqDmTHQd+NnS3TdIwz97GTMw6Gcu5Hi/9VVk5ghIHG2Jy5NKsYOVXRC+XRmc4SKc3SFQTf/zIotrZyqiOb1+v4u/ruT52zt9Rn8lXh6BKOTX8Chln2Y0dj/Hvws0fiQYUTT2m088L6HRE0sIxTABFggkaAo67XMqt+dLNZ0kHluIAM52aINjT7WRq6gNgeEnTricWEO/vtpRbX7eEiO8PgVVHthxnvYRWrW8bBtIDhF3ipJ5nSRQps4k0hHTgvy7oM2Ig0oirIElA5IQ4kW8UmO26TVseO/RDSzWlXTdXM26FAVPD0p7c6TnnzWQcjFIvmahQMUYqBx+29vPaekrW7TayPjTqB9ZaYiT4YiVvsSLXpYU8LjNQdPRZmrfJSlDIvAKlCaiCaUxR5bjsz+E95oC3rEyddz1vSiyq8Vcrw5qwPkIe6PdGhuz47Jnjar8ylbnaCBigLISmf11DGsnpHCzKySQnkWGOIAYyTfynpYZ+hSDfLk5FauJWYkQV09+iIyyXo7wsl7Q7k0mS49FBl9d0BKzJKTRohjzsy5YR4sCacADbz7r9gjoLiU4WWhCYLhdj2pwM79uaJQIvPQaQvS7oWvzDCissrptKx3foH8VxbNkLmP4NnHsKvys2BkFnGba/np7y5YkErYm8R3oebfkd672s7JiGOLhO8W2J2D38xY9MFGz1KCZCAUcpXVdHumBEuVhPKRev2evLQ/AxBmHDVLUxWZHwxE69oVXgdaHEdQakNUYL2Pk8D9alBOUDxVvJRsJ9Uuz9tkz6meYg/yKCq92xzouyAHA8DJh901YdSOc7BoRtmsquOIBxXqShDgXS2VEHUYeOUA07iT/o+bj26qITDyy/DSgSWoVZhFRV84nGqwYbyz9tRAjYWj4u+Xl43558+iY5PXcRD2W+mby8NZutZoKYawWirDxcKCODfxeJICXSbMf+tF6fSJIB8Dox1+U52yYsk15a3knW3H/gMI2Es5Ocy3BcDL3bVQqBxh702812j+eP8Gk5aS7SWk0mlvRakCbdX2E3fqiQ0H2BFvYNgkxF+G5i5EggWR5L93JhogEmB+HVg0iWCZ/HfZQIFuomHLD48Vt55j/rVW+DlJ4U+iry2N6EPbVL+wSGdz++3S01soOrbXF11fjxp7F9fIk6dtFCJpUjdEaCe3XxZz566FX0k2Ns6Wqs+xBbmf/ieP8nRQmJyJPW096WNV6V5VGuZtyavFkQY5ZeUK0uKsA1XB9kIeDJHmT4XQMScnXSEk/idkaPfVVJVYcpSGIrbct5towYHVy0KlB/pwVBFFaK0uttxTlt7NPVwuEJAYaa6pDttEmVI5uF5Hy7FSxQsR3KSMEP1e3QkttQw5XhIXh7FrseaqdI6C35RhZq+StOsR7YFKsC6/VPNRUoc/MQDTByJdAf4UUNO+qHcK6G62QhNJf0a84QF4hJksDE2GLwDUv5k5hMPG6wUn6UlCh9HoWYHakr1ew38sasY1p87vFd3k/hzWOR9rde5MN0m6r9J+9RIZPNdFSiuX+stciFDjflw9UdJ08Q2IDEO6WHkbD4yi1U/ET9MOmo3moC277p8jGqHdCRK4WNSCeHdA/6WByTU5+LrPoyNixmWZhakY/LKAJRaGMkcF435qIzVQufrG+04JrZxRa6qYL8LbR0gQuEcbqb9y/AijZfuJ2CqGTvv7lDTE1pTGgtIU6iB3bXmWV2XadPvBj5v9d4WDV9uWj+UUu46iBsD+j05FTZ7FXhlBR0/TL2XbOuooZbi0pGtAsWO15JA9clCCHac/GlgylJG2PvumkP2ctGN3f6ybbpXGRpcU8LoSNA2O+GtiiMLgqcEhKJYByinMkib8YichetqFvsCESYkzGFJk4jfxNMchI4Dl18BygnyWwotG0K2+aZ62+OoYHdjjrZvl0Aunpo+Aq+m2y6qC0xWPi/8D+c3GJZBPULheuLhS/FETRkNjkK/kL/LGgoW7ALajdw4zlfLugaeLWMPCUHmhXbRnlTHrVl1SDLyUPWYdW6SoKMot28bVxO6d4tbaLG2hZQnk6BJ+L/mWLfY4UkDeyt+dwF1ZJsIVjYWYI/IpycefoLmNJGikd2byIrPLDSV40nVso4NUuAlJpFU1DEoN/ME9YqhG6GXP3uhbMmjzclfJjW5FCTdQyjE5s9EgA16HMa8nb7JseBj7jlfYmIU8BG1tpMLCzmFuL0XiMAAQ9gVtwqudMTyA6jxSx17HYctVGIvFc/S+rmWqoIRlmF9xHgWlzNYPCuC0rnJJwTy08PvUURarWEpxpKWdtOcNPPpxo9WNMMG8i0omSTqpCQwsCZsLJGVYow7yPI251O2TVyI8hpPi/ZiNQUK8CFEHI6LNkUjqNdn8VHPyw7gYMEOjT0j1j0AZbMdjn2uCTtnxpIUZhsP4K+cr+vyZe+V0ZRmsyA1ORavWbxJL2GvYTgV1o5nHhwOmMDJcMMYBPSkjg9XMjFUwnAxprSgNmOfPxo0AIZtiD5nL+Inw9aE507ybxXD3XLRvSX/lAptmO3j7hZKT2L3hOwYVcaqraUcFiD1JNpZgzbH1KZVijUG4X304lpYfnxvdlhifCT1UQNcTMaRYholrxVNRCpjr7+K0NO1OqZy1crrLAhSDEOFzpxHCLfN4DS00JvSTfvu8WVhLkJ24oasJySGRVcHVxL+ZJqNESNuhpd1sya9O7gYx8eeFk1K17agyerjiFui6NNLzWC7g9iwI2u51LJbHUPgNU8KZkZGviNZebrKJQzlOg8/vEM/tO8h8RHnH5jtTnaSpryN8KiyFb+O3EpzIuhPHjI4JGHvr1lAOwo7fP0Ipg4ihrfG6toSHAtGK8LU3i8Sv2dUaCXQiMyr5xMnxpsAGqtVpLGUmAqAQmh5mGq6b8/dMkFLulL/RlH6Ka4w05iThnZE99QwxFLtIegsCc0v0V8BABlfrVacmWx1ZGqjpYefbHMFTF6mJEm7fquYEmx9ebvWMeoI761qO+WQBDb8apFLFbK3nQALg9k42kigf6LLUsJhxljaoTzaYVrJrho3FkUl4RO1RbofMQMk7tbnTNGfwbmt+gkLM5AUdsQ0hBr1ULqmc1G5FGrw30HQN3pV2amfyfqKipuI+bepsvdVSP/6v9L0SN+6otWhcfCLQf7hvehU/VrDM7JZxHoWsrmyf68+mPC69qvo+oq4A25F4Ni95uUcbABg6zZxFUehcQJ/ssA6M8k6jang4H7+yn3KB21NfqeBBZmVIwcw7cArlXIMN+QnQihUBgfbn967YwaFCD//A0wWAfID34k7ceu7uf41ZAM+FpR5DrfR00A9+N/Z2L3rGEMddcl4iQm7gQ7UOw0TtpISfMQ18klAN7AcyJg7+gnJY9GWTAOkoU0YAv8hSxAXtE/Ns2J4g5HFlEH6g4psrbjZQMpuMJ+X6HjheCxdRpDKZPO2NE+ar8MS4wbFnrE5TGa1ZWNDqDk5++5K1l/SEMYSztvSkxchACFBgqpWmfdiT9h+StVPqZiTJgAu3dOA0SsMAeJVnsXB0qOZqzAJybJ5wxau9z8jARHOWhy5bJNIr++P+0jZYnZzow9fhYd/Pys0pe3j3V3TyHEsjBWh2U6uP6UQuSH++9PzTODNFegYVb0n2BoNC9NrC4fbhDrYT+I57vPAPfCsKToCnqxrEswNq9p9LiZ5ifbc8IZLIyDDN4pwdBYUn/GXvBJJckkOcMz2ugnxtBAOpRV55qerVZuVkQXFb54kS9c4awANRVNzROGllB54f238QbP2vym7wefvEuo3RV+DZzylodXkg/rhoBAoCluZJAQ9pZJ7xDkzcwG6BSx+gv00OwDzE1BELG6lUTE7fR0LetXyi1UqCnO/yU8Nfih6qBwRvL+uFbLCIOk5482CBItwIauDFtqB+/FEeEtnwhcXfAl00mEbPlNgJXSbaCg03kmpAnkno6//2HTlDmuv7AEg9K7aQUI3FmLkZytFZ0h6k1GZ596w+zpuhJ+maUjIl3kEBVRtnX+QPRrfwCz8SY7IVANdGSGrHorKUD3A/S8sGdB5x36zC+b2SA5QTu3dV4WbdfEcGjHnr36WzUCR+lr3R1vjoj7s+lG6EupbF0PiYfZk6T0B8ZRRcFLGdXOhIM434Z39wZI5/kFsC8cNSbm+aPQP9TesqWtuuXXOXpCGV8ijCYomDARKHbh+g09s4+HI71F+1M/4JErxHhz0tULElE6Z4d4seK8twGu1MTrxOnN7NAgiGnNOTQznBB1Su7IuYe1ivZEe0WtCRfva7PKRVUozNOm0SGvHZXpQ5gHeju1h2QCGzpnhA2JfkADI/Xm84OGoWOTYfXvFjNqsiNE5H4x05/N7cabWXITDko+oGRQFJFBRaTSmvG49Z0rML0kbOWKUT7aEhjUskYzkdsRjkQSApL9llSoWAUmHJRpACxWb7XG71Eg909BsltWq+dLY4k+xGDnjbXJGThqL6UVfP+UJ6DCV/LRoGN6eyOXBAfrZEzIwRpm5CzTqJVPs745Gm68YABbkVoxETCiuRir7iIjFyC+9mXk1Pmk8a771rsBwPrjXA+TiU3Ebr3J0LiTCCdBUOisL67fw11/9QMKBJ+AXQ7KSvRZQve0Z9Kk5mue9lugFn2hgaCSmQgPR5Oe9em3Ua+fiQFWns0uZxHWoUOOvINzCG3GZXXVkTma+hzSLxB9yLTGQdy5Q+YEP298khs94zcVaek7se0kCdVTVzRVX5e2JaGyjwvdT/QoGri+eIKFOkhtQ6JRDiPrB2FnzI/P4OLiILe2YW+3IV7xspELPCKLQFXUXaQG6XZf6PVUYgXXqwYDwrcBKi1mu9ScrgN/CuB37KJfHjOGV818fW24T/hl/AXKKThEbCVzkqpyJJFmUtP9yggAdJe5tGNZ3yEyneU5TnXw7sHcUM5fsFM23C1ymZUglGjuzbMm23kmOs45xQ0D7adijDbJbw5U0p8M+CUhHb1VT7mEEb3yEkjds+yhn41XpduHusOS/mzT97GFlYJvNzvtCVo8Pk/TiQbOGbWrHn2TMzIAlSosW/hA87EnVex48KleuYlUlsHv5vNq2ZMzKY/C2OomFhZcp1dBAcdbKXbsp+91T5jq2yIg4/Osah/M8Lt7MJxX7ZXqwKwkqK+EYm04ohfsC2w5JK2dzmKhtDnXAcghTdi515o4UuFVruCli9F4KUqjzGY/MKuaMNoykR+S6OwDfhzeMQLZB06Nf/LlRX/+tFixtOiDkbcJ8mvmdsasZiZk/NT7rnPgi/j72TPcpjQOiK9pErAh2wf77iQ+MAAzMqcHFFKTAO671NzJxDerDK7nqMkZ7rnVaM4Bk25q8pP6zsDo06Evpeq/74x2KES7nANUx4Fx+0848O8NF7KIYSlkLTvgZJq7oav+T7FNiU0z2iEBilXJw0tg1J7e41bgcMiF/F9fus1v6jtxIqtjj6zNtf74Nn8v/SZuM2W2CeGlWESzE77l8X24/9aCBe/nsNn7par0HFDEs82inDuZ+0X+Py8rAFx+MZkhClH7lJ/g4TNO2r9BOA1CJv9TtcJST3rhj082fZwJZ1rQgkW/JIChBV1J853D0BlJ7Md7QZeouYPyjrh+Y8kcEJFA2aDs5aZWxicpDrRVms1WddXq3GuhA34B37SpEwc2W/b97xDu20MRfnmp4KiSzAPFqsa2JJ4j8wN38K2KTGS5NatRDwdnlmzL5Ove78vFvKJbsbSi5L9PPZkGoPQPv2k+NlpC+KhViQ60YH7Me5FBbwX/s+lDVzMt6XWFQfh+VpfIOFa7hZWu25zc6muP/ZiU1C06hKCUqylEid60UNsIxqrX2s9lCm8KESFi+vjNiUjdbFTLLeX2RSihfo6gjL/T76kgOo+iOxHcE+Zo/hEoEjdQ+vHyz2xr4XqyGNMGxcilCbxpVFxSj4WgmTjlGG0L5CHTlD4zm1JzVRyIlPsULzpZVAjJ3RXHpBAW6xHf0b/lP/m1XQd5j3py39xuIjjveEndjhux6Hk+eybnYyzDvd1KAx6WEyFjyzjf/2wPNxpNRegiU0mQG6eMpcZYDYdtckNwGwRZDrCLufoe+idPYYpkPluL6mKsE3ZO97MHT1RGczMRCZHgVVj/PBR8yPRspOidBPbG7Bn7ZtyYZeufo+HtbaplT5tVzxiI0iw4G7aQOYlCup6gECPG/sdaFEMkarW9owRsYls84v5wDb6Tlg4Gym2fqMJj5cjGTKcSU+OwFDK91pKHe7mDgui14e/CLNY5IHxj4/f/nZ7K33TkQzcT5vUGd6BxcIFpHWLLgsDSb/EtPX+7+6ay8f4c/Qr8d5J6XtFHRsz+8CDVYotjN+2GcA64blZ/qEgTAbNg8AUH6pe9PQqCWicJPDFT/mU5f8qQ3joIMk8EG7S8sCJR3lHwK4lkLlH/qpyKWItC4ipTabf7mqZiJBAMFz3b1E+4NoHT+XMQ2osMSGUrNVN9FnY6v85cu8F7K7ED9zRNXmBP7kkPoU1eNEOHCokxfUTzhYGPA2GP4L2Jw32/jq+43OtityDHmNJ4KYQsTQnZuWCtRviuhH99bKx6Hp4SdpuYZSrhmsXio2+9bImJL0NYIvwHVzxuAsBt9lGk0m90RjzR2ufzPFBAo/93Cpehct5XEVPrydccr4qd5MGvBsSu2p44Bq1z62FEQMeBk9XpJ69khTIuOZXmniFap7URFKEUUJWsidQ1oPYpRPscRpU9Bbozip1+WOsEOibjYGqjjH78huTMdKP2ky24GRgwwbict+TQL9omcvO8jlnywIb+23e9/0/uw9e0cm45pGb6jlf9X1wNM/PPWXCX9i2q4RqPm9e/KBAQZqrmGfwgbsoZBDMQ4MetSKe/tPwgrTX3TsIRyCk2x+roW/gjHPjZt9+Bn1QNgpYN6INOwKKPF5zudrdF3uMbWlBAfMKzJHHey0fRkTcZJHOWJFG+jykc/HH80M9izB0L7pF46wbKEAEsDjIeKCX3KtEB4ubATE5YuYapZjTqflHlheoh5zQCMB+FbZvfv+Wp1NsXbj6mww/oJAv2cGPSAxMjOLLGO+HcT7ZO2ikH9619JsygqRWgpj4MXe2079cji406Acxnuy01HhjycClwITN19XkLPdYyvSk9hsXWlmHCFeP2mUySgPMGIKU6S7pe0xrvrVd82ddDW1dQ4swr5Q/OHzIhCVgJvxlSrm/Iz2dY66BsOPZ1iriH30qyuetA32LKlxQHa3JIY9NavUfqay4ez6zaiG83J+CHAOZmOVgAfW6waYgi6ePmIu8ttCalTng6UaD9NGuDjLqcB+sOHr+bhBesQUNDuW3AWO3Ppm0k+LucFHSFdfCF2Sy75JcnweB9iFklKRIPR0eE8lXPCxEwCI3LkJe+/q3Htfg5wSeXcKv1fIF9tzVA8OuEKKR02yUuanupfflvy2Z+7veK6fHSLQIr7nUKfKwT9BlMcf+3Dn1HjEnujHBmCklVoPrUad7K0WRmaikcw2Kjes0XTJu90kto6wu3N4+A1PbNNnMFFIo5/2mUbBrQflqDFDwJuRSvbFjSiyWR3NsjiQwQMbAkoOCsCdKoQGqO73AX8JEgg+d3iH6lEx0t/PKgv01W0ovfK11CeMH4JbyEwbb43UljC5ZCON3AL7824hPaJaTFZ0dEXEelX4L2IlkskJ9H39LHFq8n9HXF9P2vZrnipKIOCUW7jPAUwz3mDqSPhrdKDpkvjIzUuPoJKFIAoLQ7oLLJ9kJqR3Nk3HWQoVlBoacXmKCj3ZM/12rGBO5/h8l3NP/jVWttVWshIBirx9oJzJFS6EtUUVZpSTpcIfhYbnaK4LhwonCTpFSWENYaonAin47vE3qRkojgqMhx2genwztyYI5DYR9iemJPVhCZ84hKbM2OybKLbMn7VhBgYN2Oo1yoe6He1I3xTGbQ8SFSITzi0w++0QYNbvs90GsRltQhxAo97caXsXnctZcYhsEqTaEbGDvytkPtu4P+i0/5jDsSQSQdsPf5F4phLSBHwWdcjLQ35oaDIaAkNcQsEM8BC+lmyu1xhEDA5GFZnZ1TNOSIOj6LJ2dqZfOHnNyrvB8Fjg7rlmgasHB6rNbqm2MpKdJUSd2Q3emzq+onXo8AeeMdDezMRpeHEsnyDWmfG4MFmZCiSSsbFfYjtxqH7fnDJRxZOENhv0WVXszQ7h+JHzvlJFiHvrtQ7F38wl86G2J98zR19FfpK5WPeYVgzk6XVT1/NuLaCos/xwTfp0LrKopF8IjaRSJgtBhwsLxf9msHK7YRkCk9FvmiQfRnCJit8MIvQ2lUSAUuKeXKvfAQYT1WjAbWAreyb3WaFK4n482k8zP+SgraKChmXTLxHyiUrxQjguRldI4BGHH+UNXAmkiBdOcOzXK1Ib8y20YgHpvoVmJq8C0r+RTYMDOsCz2EnQkcRs4s4wI/FWzUBc2CmCMOAUI3pnQJUGYLUeLihi+OVTLAAh8hFYDxtYXCdJzdSbmWcb24SZaN+21Jp7Gxe6qeDbCMPoOQWRnPky6ClXO4Keftk44e1nUcbVVUdQbA0mOWyjM5mTVxCBhq+XZG30T6NyMujIwPN3YATxxWLwRdgyRuVqtBe47czBmjaW6lYjXEU3u4RUy3TbPzZpTszR0Zn9ZEBUbmRs9PZSIs73bmf02aTgrURlSIQC8HKkPc6ZsPkaecxznQIm7Zf0oHL6SndeZuVm8h6m/iSyNd/MDghFCjW+sDB1EbkIQVTYu8ceZqUhekyr1IB2fT2gZr7NLbMjS0+k29X3fksyJzfeoxdCpQy1jPMHsamhNsSSpnHaD2oVVVSL6ViGZEYzSNIaFurEiPMB4jQFbo1ys/tlMCPEi+t7BdV5J2wtDZ2EcQoCmd6jFiQQ5ganOrD7prh6OgrhF1Vz6l2RCYNKtc7yInPF2WUuDkEocIJA28oiiN5F4LDpuZKkRsw5MKDfYUHn2nSUiBOM4otWdYvdLFvhns93i/n7tz1lVQGStS5U8CZGmspJ1uha1pZde5TpyzEdR+XLSy6N3UoJLckewJHTJVAetmG3711pnz/KP+f3j0oze9hqDlcDCzBIv6lYtMxZIMjL1IhhoD38UxnKG7bjE+OoDANldOR+CaVIT/Z/4+6f/F792yOYaifAJsp8+WnN5mUeZzv9Csr2nE8MfilCk3x1QQAXbe4or2sS6rvME+LDwn6jMf9oGPupoDPictJgfBrRjS59iivGZogDjpy5b5arqMIHr+Rqu2IuG4zwiT53XhcKg+v0L9qid2GfR+1KmI6xWIG/sWGH/uzGzHtkQ2aSD84pmo3TUoML5AFQg8P4/gu9PSTSLfNlKkl0zK2Iue+vdL8GRykozJ/A2AdovsKGmhUb/uqayhpuUlFKkKVVq+eZUxcp8ziv+ZfaUa7i97cHmjvLvkkcnsDUYPd3LGAbOaIwbPIy3JxxrTP6ejcusrwecAlh5sw2p9nTl3yTCa9NhHTmimxHPLyBsiTwFY2zcwEuLWyKnDM6XldFV/VGb8gA63tzLt3JolRZOwFkh2bpPZackSrMASMJ3iapCMEK0htW19q2a8sg2A4uL0jNXoj0VywBth9gBldzzXjMhglSN3VdlJrjhSR4ICWfFas7kRAyBpEiC6quuhFt/tsd8LLQ4STklJr+tRhl4TlvRbLSNC57ql8lGR1n1wclje+DRn4jTc/I6zzGDkfJH/AfRMjNtTfpkq90GMS0/NPLXh2gTrXh1m9oeJNMtgd6l6g/Du4Jaf45lBSlMtdGrPBk9FkBaZNk+lmDY8fVwLznco3naIlrCuLhUtMIONh+BjmTbi8z81rV585ZIYeGIWyPQ0KD/vpHpw9Oi6MUXkz5XbJt4xBmDxL/fktrczcFvrTCdoDj+chlXUpIkkxE7jII/kQzWyCTi0WWN8TTGVHV0vMO0zVyZj3RZCwAD8TihDy86kmR88WaQsr/ahw3yLS0g/CIECdnFPOONkiHIVLfy0PgIuH6DbW4lhJsnDztCLP0ahn7Pk2DqTPd1SAS3vxuKekMZDG5G03txdI5IYJ4TZ5XgIE9KNE0t60I2DJeFaqoX0ftJrk+4N9uzD9B48BigsHvggWBjaDadyebRCed1Xy6FZi6jDUpkr1AWWE1WqBpIg4ojmiG8CbJG5RRjtjOegp/EH++rbMnCxkKe6zO0uqQt2G0Qt6hWDGo+4KHtCuWd3SJgFuvCu5LL1+oDe+bVVpknSlfFUoJF9jg53FeZMns1P0A6tWDWWTe/WuZLvPBC6qbMYgF343hPIuMvUzm7/qfnHaJ21C9U3Z6+xT5F7gg6RiwBDoDZOzCU8WthzL3fGOLI5WstvDMY3cgj9cMB6ld1VYd/H7lbjdxI42okrVU/S8JnHzTisS5ZqbXCdAPBtVK/jJyg0fA7T4Z0otw+/fzpXZcTvKa6up2wYySAVOajXOCHr9RF8EAXGBqL6SPIQ+WKCi/0VDbw4V6vcMy17l+JPbPoBYL9W7Q9PV8LAfbzXHfxg/vL0Eq8wPG7GAM7SkSF6auj5SNkjbV33ZBP6StvMg9T6SJ1txdFkAl3Cao+gC3rggctf5e3aYuZezD2cB4xnWC9MLtTxq1891bQJYPsv5t6YShAjp19N5bfl82gIDH0nI0/oM++U1lwPQ8zcZMNWHm3JT34ByHjLdVvcCQhOh3F7OLtjP7BtJ5ZU1kqR2ABCOQZ8BF22Dt01utyzgMj8b+1DqZkROQOW/jOmE91s1Pxk57LzPDRZv5vrwj/72hpozJrA7t1AAkuIJf024x/WXk/xBIHe3NRryCH0VpXjMBXAhN8FQnE+OMAiBDI1Hm/Ey7Nwfqb8EDOd38JhUraiQPiflrLjN7SlpwyTj4dZRrRrJMkLKINsURA7uW6848r8RSgfJMYYJIjYL+l/eNlGhjRBMXQ+QO+qQ24/uMshId+b88lE5i2JW/pkCEFf8ozu4K0fXP8qkR2x/ylf0e1YAWdpLmMc9ldSt2+TrdjdotrdV+ydyd2gJdygo2nOZ2yqTLUyV9qn3EWxJJGIp5Nm7bCl634YYaCtUdq0gILluQec3gxsdA29eX3QhAlI8ZLqgP0WPj6yYBZYz92rqX3rMZTf2/JW6s2RWYtRwpI2qTyqtVKRWJxqLqeJeF5Hs4wHocaTLelIhW0yu97nTkI7u24y67Cv12IBm2XKF0Ddk4xmh18ypiC9Zbh89UrBClw9Gv2ZTkTCN84pjG3p+qPDH8sXCoOznYGfQOw2VuWYxaVvOJvAceoRZreBcikginLYXCpuCRBqIVOh5IUifCHW0ZmW3CrJgcwCwwoFZZE+DHa3QYMncDJi0wub4tkvQAvRHysPd8ezkvPE3eHyNj0nB9Ct40+owJTwT7VAXxmECQdxue0OiBBQrhkwyqGU3laikgXfsZ5ttFhmnfYEGD4ctiEndm56Bo4azqoWasTPLVlnJGyuH9PgK5yrGKFuqijByYMvNXVvJB7SwNxOL1yE7JEOilF272kgU+PSUFbcPuZXBfHTblCMEr3PzNvw9KpY+Jxubi7RECgYVMz+DvuU7q+GG6pZcVkIsCAIQbLMCw4ezl63YBcGKt7rT9TAA2YzhSNMy83RAjAToik8t59/YD+0jhkToC6YCMLEEr2zKT0Mn5Ma8X4GiRvoZ+K8lvsrvGh0+00zovcGTCL2whYT69PRDP7kScgY7bjAfmn+fSY9sFPC4ateVHiL0foYTZBieR9keP1uRi73LEeeBzZbe1w6DQQ6huDKK7Z7ZYCRRD/qaAijldIDRSZVtCdw/G6Wr6ypbEHGOxyfKzelgNYpr8N+wFzY0C5w8YLiqVAM73hBix7Nf7GdITTLGyNoHw1gL5lHLLv9aLjYQmf2ML9rsr5cdKdoQMDLnGLzubOh2066TNVXPT8yxxItjZgjWSJI8OqEwsyzxOn4TOd3u9tgoKp0vog5V6b//ygItwzxNoU3PSr9/BaMrxgi5+rbix222NdpeCORgFqR4RvMS/FLHe5737XLZOnMRhA16n737wxp4rm1j4aNWJO1EU7b2ciu8LMeApqkXdiTUQHvLHypmn4ZAR1Yw5WDvRBAnbmYeC6BdefDxN8imF3llKlYaEMZDyAySmEhiEJ7RURSfiGOcyNlsomUP3lj+rJrRWc8K+SLfP1w0SIOHSW37yutZunpX0IovauHygk4ejMEoDOpLI/ISAu2YQKYh0EqRe7yV5xCd6uGvb+JQlPhCikx8DF/UgHJnnnSxDuuZF9a2rrl/IDxlu1pRT4iPOhPKc0mBIRE1x9pOwldDbGyOZBnx0SSf4NmT7zMrqik9NR9pJhMjm1qFJ6TwuBHvslP97X12kz71/meYV6hqJRFggmgsFLgHZUZDObEsK11rtMRH8wSIsYHqB+OX+Eex6l5F67Eef0bdxuf9TO+weSG6cnHoguj+1V8p6JV+C1kGd0KWStN1XdmCNZwBTXh7O0WjApARGf40jzaQtRUlAUJQf0Y6ugjkecUqI98krhx3XeEj+wEJJIrvmMJu81ltQEscjF4M2nvCP+L2UkIyATSQhiEAhbMWLCUK4k7GTpr8Jn0B7prGguSo5dlQjz7iV3e5nw7HHKhpV+d+gFe3aSxnzRAbf406eYvKzhqc7WfFfUwOVqH42LH7b7QHVn4A1UkGGbmWjZztssXi8tc/9wCsPu6UnB/4uPzponsZrAmFc2C/fMEBbo+IO/wVkPeR3IhkZDeyonmHzUFJwMPL94YyKJBGVjDfOXPh/7bRRXyYBFHYtemP3Ojy2s7LdfY3CQipprhK9H6/xCdOe5FzUDLrH6p9wWbBRNnh9eRM02bzrse57lAMFCyumak5Sr66konsfDcYxjT6yqG0GYVGZKGqaI5AnRmhC10/iM3VQ/Q5+BAwZBOnGv2A4sGVcuAqsq5f6nlxo3kPt4dAsTBoW92XJkb16g7rpcIh4nju+PaFHlf4hJLCferDFRJrRV/D2cLg9eluT1F3KUsL4/k4Yt2NyWZeHU9MBqgYOieaBsbdd9MKieXEyQZJzljHFosAjpWEVF0XN6RcCXzjTgPUw+goIDlvCS31UIM1LXx7RN6H5D1OxulLq2yx820d+R98lCr12Bj96vZwxWdCDAdx1FTER4q1SEvXK6aKOXwgjDWHqaN5/yTYpMFncWyGxEw4/+8L5s8QPIIehpHSfH7z9YdKUONIxMkffIHUWUuqssPr+K8JhXQW1WmbD4RYItEJdr7ErDoLCxxLSn0H0oyeq3bQjX0CCn8dySvw0MpVRFkeq/bWFLKL9gsVbW/YgF/qkmBofXrqi9akI59Uyle8xOBi1Mzr3PGbLsXNG/CPyRJ0desf60BlI1ClgHbG7Gj/X3/KJvkxnJfN0fX2nW+BY63giy6UisSH7BluaEcNG9JuGPhtvOEnuslHTjus2axZH/HUon200ar6L8NLfPA9sL1aA8uz2lklRd9ZvbsndnjyoL+Nj/X23Siai0FoO61Q+z5cQKWNgR3pSCOx8dF8VM2oFidPu+KCjTgGO8pmnOee4BI2y40lC1X4zEOpYa9Ck+yEYy9We6piVgSrKUyLE6xVhf8eUGvuwSmJ483fJYScKziz4JCWVM0+c4u784GCbcXXFMrsRcNjMLdcs55AxN+Rs1tBUyAYydaWfMC9CIPluGFx6QRlH6RllNiUAlTH97ZOfQH+VF3fIcfs+6eojsPzGZLH8VPEFaw/MXGIUIlehIiRqt8l+/SMX2oTBWffpKrrV1TdE0a+L1aO5yVt5gh7Rf+XZ2aIXy0GksInslhi6v9fbkpo3SKpB0lGdS7dwfh80m23OZh6HNV8SPkhC4dosnOrYXLff7UthUSgjQ5m95mATy32zkV4IgZEys4z/D2/apEDg3bJVuyVaH7j5AEUt13rFP1lGRHt5UTiODP5oJoUTJxd33GCv5R56CWFKaVuPh7zE8yzX/vNtApeoyL8MrJay0v3trzWxgUOG5AtKkJsERXjopnb+1DAD0VdFOmGpyGzjoxuaDpRtKGYaRBekfweuNfWCeuR2qczjG0FxGz9lQqOTnkk18KHsfriTdkgggRab9o5VZK5F7qyZrrXbXr5Hf4WOOrIrylKpocpO7aZuqLkTzi+5QufB1/MZBwEowZCXl+6ywUdb9AyVFlD29zjTbsB9Bd4grfVqS7AMLDawB7soaiB90Q6zUp1m7Jho4+bl09iPi9B4zYeatxSwvfaDNhxzdI7l6BIcVOIf1kycXHfDGWis73iZblIa20/g3sReS+q8v8I9hf3tQpqoBSS3z09AgnURAYkNtJQpbhNH4fXsjqUDJYJxQGdj01WY67NS2ZXkqB8WKqNSk78En9h+/hn0rEC4IB9UhfHI9Vy73AUYTxWkVVfC5XqDXk4jz9U6chUFG+uWHHxuvWAJuEo0XxNEdquRTaWwPNwHge6AX3yJSv1wMGZEbKZgpISht1TLMUQaT1U5EhGwzgQ1ZByrmtaLehXB4L0SJIpJf4+Tx6CbVosGPXYjgGiSFjtkztINWxL+wB7NVKMzI2TOjRiutyQ5vHsmfR+vcNpXcGSsrhweOLH8bhT7+k+m8+AaUJSOOzEJlxD12Fehml63uh+3ZxsGfNWYZrFxLPmpGpWjfqBw4ETIewfDcAHYOGXDPA68gbEWudSJV1Gj/KaqJ0ju/HYc0GtYEviJ8FtWVJieBArBCpXzi5ID0X4mMHQE/JgsmJp9fmdhf+tjmt6yafAzYcoiVkwQAreT9mPyymM9CQS7lFL+RHt5q1yvZYT2B7grmqWN6xd1G+FSF/Vb/IR/WJkUOctTIouq774bCYKjXNpYUezbFIunTwv2Jh30i4xwQ5G7RXjxFLhRgYz7Y3lsKUP6QrJBsEKGC8TkKQgiAsL/LaguBA+eeH85HP0DU04J942jq18kg27uqkpggiBqo8iRUTtmbq65YmO/2ZpqpkEhcfQhEagupepVqJ7Fz+98ifpk0DRh7DYsBnZbD9eck1zhVughfiJThh3yY41+lnYPG1k36eZp+pHA1vIgUv0Dp6SwirzJs86QVrvv/4XDNbvCO62YqnkRSsuQOSDtkTcVNYfSKcRJocV5aW6ZZ0vh1ZDkBeYHG7GVE5W6BTi3AvHVtq8/YIEZSmrGZCngE/vOtbWSxxYyqosLvUc9gfuEBCfhHZNlz4DVm6vVn6kRzJpitwvFnmql1W3zH/BMkYmDJDuCtUMtXInEFeeGHc02n6zfJtpQ8oSxdyY6a0vRVWH6eOYTx5tCgt2DXJ7dPebA54+THzhn2KlGiJe2DQ1UFVwP4Kb1xO4cgO5BCEKv9XBAnitVgLHhbSwfZ6ET/+WdUWAbU1s/OBBC+zWCIuj7Oj6I9purV5oyR/55z2i+rRMdI9wxUxzM1w3DFiB8ej2J2syt9/Rycw9Q5c3Abs8icfOj4IleAIDVC7iMhcOc6BVcXE6rDVRcQL8aoHxMmFlngdLuN6Nx+B8kWe7Zwvs88ixOJu5Byx6khbpn8YytCduDACcyq50T8WROuLurnTV2WSrk5w/vDuLNChEf7MKGCiqFNzJeNi/UnzK1BXW6D+03LxksKZvNOx3YtLwdkw2z/K/1rPUToPpGknCag/PUOJL4U00BDu84l961vuwRRJCjleU5vimu6/E86SJMFeOmC0mQqO60cr2In1tLbTAK45+4Y0qaPmaCoxQzS9TUJEz7KwcD9ZUTgNmBAGKbDoZThA3YRvAkYDPlZPlU+CIMj4oHhxBclBspjc79GV7tGL19NFgmw80MjwB2xQP4lve4RjxnzNl91nSLs7mH1IHc9V9SQ80xLnxIs+3n4W7jXrMdzU6Pds0j50BDEtVgXJTxgEO9nB1XlWt3jyeLDlVa7e8krxV4k1GA8J6Fh5rInejnDsFQANB7w/cxyF75liq15xEY65U/X6Ul0g5wIBZXciiwZBEz8MqP/AWWU7fiRh25yQhyf/93EoR/eihO0cJOnTvY1W1jhZDGUGFOjGswjHO71ltTQbUnRsL/CKUO6SZuDeKrRlzFLjv1h3WR6xkDZOajtSa7rc9ML2/gtONXw4MXtHytSa5jn/Eyr59wSGNZxcmkfRZM0ujTS2o0mMStNhn/bB/JnUySH8mZp/I9IZKV6kxSmSp2VDOgwBxTToZQLYzUzwassMmWtzmIMtiEPMXt5obK6UKgnV9sgp849pHxx1XNOtVXWQBTu5MJimQPD70sUYuGt1cPVrqYsUzy5shU8imSlBGk28PWHs3hV8zqw/XoQQWTBeGoO7Y+uQZyTxfG7gsmhFNm00skrOecqPdonFE/7louyFTW58Kfgbh8HJRhpyoDvL7zq4QfR+lqHERsRfy7bXBbOhxGRVWFElohTqy6XzKrcaWvpefGrXRFamH4fZNLEpa0JqLzUiw/Hx7hPNw4Ud8IJFm4rD1qe7LYLxtXZBzKN2ZJIB7k2RdIkGB8LEvs/EVTKqYt/ObxloInWUsnSDNxUMyyEMX+/TGE+oVPfVK8+yj4fK6wfn5Ogjq+s3pbrS5ADtfWVEgtU9RrQ0n3s6PkByGqaBrb2IvVGRxB24u18HxuGucqTYyBpmZLlEFGz6XdUyKIhnIuAraNMSUi+NboUmSnde7h5g29sEbY/MXM8RBZgRNKqXlRfkFOAN2gLH7Nrx3qOHXYT02oBHiRkKZTyRzDFQ85blj22pHw+/M+Lr9yqlHJHFYO0AnRIM1ebBWK6P30tcOa4vdwame6l81KhHwXZEP7IYC3mDh1eQrTk9i7l+9kwP3vaYZ6y51zU5AX3i5922JmpNR39zvACYucjjgU8QwfRPbZWMZ5RwxWnkqR5QihIeUmhALyi/r7ITKeReH2lhdii/Q3c9TDLbbcmqs8Iuzn5dbVjbKZxcyYrelmnwruDecZUrNm2pMPdklwzSBaeAzPSyOmw42mid31r5zUREcgDTC/3IBh9QHpzPaV9zMfxDoij3Obw0OAP7Ppy0l0tR5DuG66glc797V3nnfb7Svxbiqiphgy6rC2Yi5CAWlK/bT0JtTJFL28eXB97g7U2T4DyC/khC37Y/02rznuVhB+GTn97UV3Q3XwL8a3tcFQ/oRBnrnx9eEVMe6xvUkD5IxCQuyWmOWZqn6++VgoudDsSL0J+5YWdYGZndxhMtpGjKhB8LmnfrPZUTJ3tfxwk9AcPJzgZQE6eugOevMNvx1BwG6zRvU52sfMgo3ps9+ebYB8daANwGropBzR44wYxhBI9BpSTo6o7ahfnfB4LkEKGggOTeFE/mg0Qos2Yltm7cr+qzscGfXwktZYuzTNlp6szI29SsK0Es0wQNq55INAA1lNIXWd62mpaL7Tt3nja+pqmq+Js54G1PpFuXkNz6UHrrp86Var8QAgCGdzfNxyWsFoIR9i/9JiAwSMVh3RECis6oz+FXmFo7al51+g2v2oHX5iS4LifG9L8yzWaj87xoFKYp1taS4f36u8DUOtz5Tb0NJhr/ihFsDHClmP8vK3WPIcTEaR6T+yqFjSmjtp2Oi98v/HPg9DwRgIBkENrlgE4Uve9hHQLA3M51+ABJYotPO11Ge9ZndrN/FTVxoLZlj8I0gyXao/NDC9bt84QzM0GEGzbDcUtSq//ga8e7mNYe8R7oEAcauLn0tHznZTCvF6ZwzSDBSJNIht8BnK2kngMuONvAlYaK0Q8hhZwPnas5cTcQUJPErBykJULAwBVA3j76+hgusvrD0jVxHfA87qu1tYsSzuco+dB+pygopXG61819kGfciylVqmZkdEC7mG/RqQ3hUGEW24VsEJDyuYRqv2lNaL8EpXJ65CcFXEvm38Sw1aZbxR+Sigu82aidtKdlkbR6jrMAPzzH++Xzg/obR/YbLjfck6zRoq68Ng52OlB/pe68hCMB0NSuAjLab6WjRRNisQVtm73FhsynHslG5nmgzvNjQvKCYkanU7+F5fMfQ5m3UfvzHA5zGD3YgIuRhpPyyV4/oiovIAa154o5W4OUKZ7UTQxJ5IMODBvnWygCzDEjjiKEnPMx+z1A+9ibvsGd76cN8kVupmpOEPEtiX0UCGj96DKMASfg/D4LhN2zv8dvd0Ld/c6o53qv2gOKeFrsRJcrI4gfrWRn5YyVTLFKNKCKzsAq4HAfoFs5X8bjeHOnG+lhXOihdv8ynpXkX6CCSMEgax9mexxVHEPnmXZnm3DX4dmJh+8jk7AVQ4FwtA7999Nw3NVUUMqomTYoItcmT9aRQeaQ0TFL3NTi1RLM93NvO0EuZwKB/m8XsAbGdN/elsSaWj90xZA4uvU/TN+pT/2RysI+yaXhGiro6YwpwRK9bJ4giQIIJm0Ffw5r+6qwkCLBjRsLpRqXPqEJIntaHFDvObhA0JGSF3EBZRwKZvDBOKetmehxxH7NQT3XvoxdsPpbRiadd39mCVH1cmRq7O0Aw1bn2cYYezWGHQHd1AS3XndXP3cvjDDQeITQYgRU9gzCiqpAYoukQeymjJZu/Www2LEq6GX9+zqXKiGjOWSCvUGbpN0dM94PU8aA+hnclXuGvgdAKG5mC8NGx7Pp58boi7q/ADuZk2fSYsNMvm3mRW4DfhnXokK8FfBnQszDo4tbYJl8MT0ajUT/VWR/5r18134PostiwcJHFXwAUDxQU7NSx8fj64DooFVKaoTYc3VhyS6d4N1Hv9dL9qkafO/aVqlQCMvJCMaLCDh+wdZonQZulSXiHmrl5yAZzK+noO8NFCzhKJAiL7oU/IH69+D3uDuyxSozrDCGBHftnMQx9Yf/0Rz/lgTiMj4tWdq4mwEGtWVsSYd4Zu3j1/nUgTx+IT2CcGc8/MG1rXBZMsK/RfacdukCWZqyCY/Sd5FDVwq2hFPc8hE24s1p3kGanUaWTZafHs7LIPxSpdeSAFNOwphIkrwM8/EGcnlvK6PNPCTtEcJwDLduQUfEtmspubGkY55UXF5O2J5HXakWwEFHrKhNOTNRXSk3I6E8L/eToeOwGZMCHqF/b3/X/uOw9n1jRtrfX5iOjDlulJVPbG97SjT01Eecgd1lx80usLwwZ1ZMoOR1UrxBmfx+f87v+TQgPlOhVIN+6Akln0RZBzPNTZT6pPf1/Kk3C8DTQ8+Pq/mTORaA0bf+jfMkwFLakDjj0IxmXNf2DLLSInibu4YU+0lDNN0Lvqw9Hq1j+dHIep35jnFAOoa0eiuXVT9xY1mUV9wzaUqqaEbCyy80dSR0zpfTkTWRbtReVGBqL28kNrYkR321gkCtld/xXwZ8be3jyfXf+gXDAhy9EXYIx8qL5CPNrsjFtdm29nWIR4sRhArb/zIt4L46AyL1mESEFg7qiaTuUmYd0KHB9IESJccMX3BdJwfzsC+n0qaTLstgl2EtCL/Yjxu8Y9EpAY+xo8w+DvIPva3jycghTKuw/lfTmRP3OLGXAAxIOLdvkA7tkNG1MMUCgHA0YMe0p0FL+yty0gknpodC9YJ6EVNYLTGz7GSV+Q4h7ZQ4nqZhWrzWtxfLc4g3AyxXwEDIovnCQw7cmyy8/VW9FVb9FX+l0GB2uamAqMGVMNGL4xQMRLJfZe6m0eg/SE+CLOj5Ds/7LNsUD1DLR4+SAr/mPUvmfTRqOH/XataqAoMDxMDr14jBSr+20BMkdkfDyGzDlYZZNn25XGU3uheWibFT+SAtxFd/XiYf4njXApXajbKFJtO3eLkmms/NFTpsO6FBa2urDZIQfInd4kb8Yi4zUUG0IOUIBfBD99Y5LD3optNmWFQrlxPO+UAzVUqJJ6F/6e20Tp9ny9qhQF1pk6jVVSIbrgGwwzKgJnqMdkrSuvIDPUficYoqwrF3TO86oAdlwENfx1Fsr7+265EnrWwVex3jlvN5ZgUFZRhIz4vmONVLCu8OLOSwT+ieg6q0Yx0JLvxnaKMVnT8sTF9by6brFZPB3ml4H4xFjNvFoj2sHRlkVou4CbOcIq1mwPdHbTFnr3wajAUuDKddoF7FuF00lB4H3da32CNF6MNzHYU/u61FQngEneTs6ScqWcbiZRGwSXyIUxSceRbXsoCEJ2Ce/Xdwig8MDe1vJO0VPRW2CAFT2rv5BYDdn+Ld/nvPQOVFT837iq/pjvl09fDVwyLLEDrxY0iFa6yKwVeTI9G/ryY7n8Y5DkZrP2NCLCtjucaM6jwxIML6H21FBdVP8ZSiUYz1hrtW1gE7yxP4bitfMINmfZeSTy4LAWQMSt7Flt0IrzMlmsczQOn/X0XBDJhXMMoo5bIB0AKHvedAskoFAbzay1tuKFw508hrFdnYR7Uggvoag43IdBUFgQsMl3/GeGADSrBpP81goBtjS7xGLh0edPbl8Xkd6kEbFMlFmW7OoDuIB0K1Sgz4W+Re9ij9mZzHkCV4BWTIUvflBIwGcl1RhyfVOFdhlrqgTgY/FCyDdnoMThzDW7FDRfajS/x/WJdliy4zkAHYklLpE8t8lvHhaBhOrDkMzCvZhSDSEcg4H/jD0W6JOAWC7xodcZQN++3QNq08P1iZDZjozkrJ7Wy43scF4LHZp1lqkDusLmqeCVAOFPVgIBnl5NEgIRYKcJFDiDSgb6H1n3KMxSPwH5AAgjLHZyym59+p8eWov3ZTd9chpO6SWEKj9BoG9Xo50Slx+xOsLVZkwbmrdCZ7MS1O5/UICugbDU0qF2qQ6/1mBDpHj1LeJMAtTsasUwIQpxgpyVMigiwbMWMa4G9rSvtNnwEjaKCNcbWaf1LZIYqCqwvQferfvJzDjlcCkzg9celZronwHll0pZ0VfZ4xsHRr6aWnHOWRa5ve58WFH8XxEYlwOj3oj11mj47m2mhlU92abh6J+EwGD8dfEHDQDUl2iEe+OY5TJLTYpui8QjqUpyZVloP46UnIPByW/+HoLStD9v2Hv8V4/GCYfJQryB3AJTuf2qvmZ1menQnJQiOBhu6EJTqpMle5HkHCiuayf7REBurV41rn0SB8MABVQ4op1K6OVZ61QZ0PdzQmloiWMWH6fjwe1VQ9sl8b4LUDxPVs/gIZEmiAHtv8KvuzGOta/j4jk43il8Z7esKrmIZL4n9u7rcJ2yG+KKMbvkDPDHvPr1IoWseHrAEwoda5yedjgaMYmsq7zVQywLbBHIVxG8r7brQXuJI4E7Rkg45wDTh74RlbEUTZeAgYAgd7jeM2aJrmaZ9rTcKQYXVxPi3DL1vUViLuS8hB5E10GKrj+zOzF26MrR81l7Bjd8uoZQCHWTGWVrVj4hb5iD3zpioqYvtveTBsm3rHt3XezmROFwrGISjWn2wu6NG/vUtyk90pzGyC7oa2kZMGrITT8SrkJR6IEcmWQsTgpnwe4Nt07aYDmYRr9r0FWmGwgqOPoQsP2njxGZS35nlQXdRfxivR13CKjmgYUJZqkIExPg1Mrvi6EjiGAJk97XnQB4GqwmIMQ+solR5try2L/zMkcvKwkapKp9v/oO91UUF+qKfZz8kFAJsTaLF42Dg1Of1brw15jf34ZJIuRhhTyelfOuaPx5jfJ4Q/Rd8uLfkFS5rMdsDrxDBcbEOcklh+RNAi5Rd5QHawCjj6EzDkR0Vp31UFx/2/0o5ROa+SK0Rke+X0NeClNYUFcFp6kKgCH12wmSWtHJL5bhl91OJistHsNL4+Y9p80CcjQcmwA4Y3NujMdKiHJQm2FOr0eJFbgfVYzNzZJA1SkwT9nmynCQ9lR+MuvClBCkVcV3Actw6t6oWyB9uqK6ZDEd9oyhjQtQEfSRM28YiBWcjzzakDFs2JrZFFOp9XPcs/9Si+PUI/FaPtPbuD26a9JoOImv5FU/XG59zPkrBUIMwLh4x6xRe7cSa05qQ8wFxKHlDZ7oXIc0jEGFiaWerqMr3ojAn/9xORMKzDHJGWmIeXoE27AjOBFiuY5wuWQC31W0uiqwkEXXHvApThTxVONsdjUg+b0LQFG3rWKB6JtvpyNFQfM0tye+sEudSv2+4tnbXBWG+9i1fyry+pqUNP2TaXJxfnArdKfwAhii9SBAzrQQ1E/CPuvc6zQN3rZINRIFxzj6UpDh86kTD8xx93hanUCoiDGRcPagA6ID4Q4HYmr0f11Na5721c0ZDw2YkoQi4wxDS9J9Dbk5DmXUZMLcDOGRZajLtZA+ZMKyBR7YaZjJWde9182y0Xyi+9L4KuO3U3QUbqowGYgBn8vXeQyk/fCJy4bYAC4UONToqdNrL428OXVyfOj56AQqa65zN6tpYjHx78Qcm+SvcrHWAqXdf9hdm25wo7LvHIfbkSA/gRuB2fnc87zesJRYk409+61LsPKdtdMzUoVuJcB2rBZYAVeGJnvxJ4D3w9hqOalKJx5Vf3njIR0PdDQS0DK1HIWjWDS6GjHQ0BdFjfeWZj4dpVKvufzLZc7RHtXrVIxFeX4xae12FfGnxjGESbt2MWU61zVM4VqEGwBa07ERC4ppflEK0v42pRWxYADJo0BJGDM5VbQC3imlcvhZVa5zTI5ylxnehSynRReu/OKXSDGEb5Qmws6pS04TWZl55WrWNYWptY0ZqsurdkcuoqoD5pUlp9OJYSrzav6NnmlfR1eGmonLRhbiwWQs1wV3uswqn6ayKn9VWTLyEbYy47Nxtb+cZqtURpAtMzpkmTzctukKq4IaORJv3qbALdcDzaS6RO9dy9uyb42ZLR6OyiwqZOHhis1LViUK7/FyjXQ4lbVdATfSCY0s7rQtfosYR4vc5aL8MN71wv1GTYeoKF4CE6mjqMEV+k7QaKEwmq8JJUIJA0ip77Cy8wa4lnPdBcip/Bkmrew9SQja9j4NSPI4qc7JCUlxLmEOiP1gQhC55LfiEnNVM19Cd+hv3eIVNSgnFFZlMDVwncDhKEjAZvGeh8wDZZJnf5RKkuxB/x3zrc/0XVjeHSdAGz57d4V8w8xnR/gtjA//sxuvhuBPMglGLSpdv3/gl0o613RcTLGxynAox5qExthuuhYbcFCv4Sfsd43RHQtb4PlagGop3hJRiIYfoqnXzcwYQf/NP5tjRaLEOV1dbGjnNoPG5IazzSQf7VWCaivzf8pihR8UuSHPnLnQdFfQ69kpQBptTOZtlq5CEn027nNfh1HNpU2QqlzC3Uv3c+JCP2cAe5G19G6jmRT4YxbJyaRYP2OiXvyq4r3NM74T4qUq6hkroh9EeYdSg1aLyzOMF6o8Qzf6ez/qdtSpTCCgGVSP0y5Mhs2o48zsdpMzfLJlntpDQlHwFQ3dQXSSZi4nJjGQ2de2aaqTeIl3TE8+CSm9oRvN3dk/LgtjuwXR9o9kn3FmDqfdAx8luzldwpve69Ck3h3rVophwQR+TeXw+xQGympSoDk1/nSKBxe70iS1b7bmiwIy5/yEwJHNN42hj5+BXwcceacOEVyf5Emxo0cpJZaJW+tEXyXrmkZY+UeyG4u4vNeH7mMqrfjRBC+R8KCvW4gcxDdxPKOHKe3DPjhtfvwoOOW1qeo6nAxbVl1q37ben7TJgfRbLlrIiWNpMyeH/9UaOwTW1lKdpKP9tcLZQf6HAFHBceuxn4sOvfY/69jiwnEGwTd/CXKfEKWMITF5IjP9K/08h7ULQoXOKmcvOsEddG2859D7fWSmUyku3n//bOWmOUZFsH7tOZKhf5YO774rDTdqL2q918q7TjSbqtNR+NyMjpHdhVUFNRZjH8M8cNsgVjSmLhCdT6lpcbyfA3Ft9km5MJmTNzR0+yCX7fwiC99o85J+cQk7n+2J26/LmmJyah0fEMXuObeWRPc5Wzh/mBo7nhSYPVWElBteISariEnMPpUXYAbuQ0V8KTS3pQVf0OoERMF+YNwBOBPSdQz9YRdZkxcxJ/134Ul2HddzPfU+CX9KW5JhUd4cP44Vii01m7LAoJ1BNccjPSbHAveRvuWlqpaKRjnM/f2K4fMySJOuJUQzukC37RMEtrqIvnhwIODFySmX5GTmMC1U3SGdFsL6yP6wwPjEKnqUuMHc13VBy16zkZVNYRYiWhNBth1c6dDAhbYOw5qG8UX0faw1YGTUB90uiv7BYupCqNf1wuEfViyos2TRn/5WcXIGUuYrvOKKjW6nHDx58yFR2LYH6TT3J6Eb090FtVXO42v0T+m/uhejH+mikJ7QInuO7l9yZ33YSCOMIslOHIVAczpOxWavCfX//NdzmHmNbenfrpvEEpxD5TA0llZrxKYwIfiUbqmJpoh3nCFfTz49/ccg0sloM8hbAi7S+WtCTy7ywpEhrAI57og+k5qgWMlXRuxRahgvgzvcFAqUNRMPiJr/H1p0wZPwOUHklEZ/hevtZKO2sssNNB5SYESI4OE1YkdOiYkE9pzAjb3Exk8skUYxsmoEKeAynpS4UiwsKc+pH+FBXTvmhVmWBKSL2LjrwGMzRza7TrOkh3D8Vh9AZ3tPwZSWYtEh/bItEySlKs/WGWF97Hh2tEFVEcMCMh8ddcVwfkyuIsiBBHCUaXxE1tN7erwxzOZAPk+RiRvgPel3ySYSkXwRmdE0pMGV1kLpSXDza6yqr/kq2xnJeUKp7bfy2iRxmq/32ker4TGI90KLJaNzFuEDokUCqbtWVi35CdDugLosNaNFLsUVJP1TmG0OX86/lCFPnaOIOzZol8dl0XtekbWiIpQmDyBSJofsh/0qvoumi7PpSMk5BY2M6M90aV7TY9Zl4ksG6YbtODP/Uk6zyHkwDhxq/U3O1I+2lfoJRQwDev1ErScAOiugiMGX2UBHcO/fFn+HHQFCzBrVY+VqC4B9t8guZBm3YzgxvaYSpyYfud4TOZMiDJlyrOPwfaBFPAnFq2Rv1KEfVK71kzGvnPaOFlZ8k/c/YYkPW0rTwBnrZU4zevfdMod4BHIRgT5Cg/xgZQZeki6Cs0qmCVjfSZAqNJRhHq53wcObPZFNjIQL/KK6VBaTYCHwoTp1mdQVnAnrWyhu3S/SASMvKngM4JHDNAbWVO+Ugiz1IUG3kmK6R93JcJ1sQZTAgQeGYqV+VO03z1Dl/kfuPxqokBw2+6K+gH3S6OX9rxlFw6sVNAP+tUL59ifGiz2j+Q9VpK2pTZ/88LN9BwCZvZIxLlziYupcYK7cZeqFriAKeJmCJWwOI2ApbMKvbbe8jy+d9UBw+0gwfK729MQoYRUrtXdDoDboUlfF7B2S4vT4gF1IYaoOEHdX5rdJnWGFHJDLQojrQoLCwGk1SZq659VUB91tPznNJYU93yRd6cq44PvWAhKtPTlhtpbEUrpH1qtL56EPW1kXhTaLfNspp2qjJb9j9/A3cg3zPF0+dSJLPSYHH1QZytgAMgb5Fzuheq2xTyru4zHQSRWcXg1I2Qyfh8W4Y8nNvOhZuMqwmRvyUCR8BE5C05MU6MbbGBJb4vASVlojJYif8mt1KtIDIE/v89y+ChCcPtZgPFkfqMxrFLebB9/viG5hvuvqBqaCApVX6Z95td+zRUqOZjiZKgI8ieOQqkfBBDbcUMMqaaVK1amAa5u/NvO1MN+YNQw5WKRTeu8j325wK+6CtTst0gXYLTxu8ZoM7HowpSOFZNdBntSx71kqR5o5PGeLaqlxQDkGOSnxKFkImNrjGn8GDjdB2MhhMDSzn9ET7Q3XyrjdWMrP9HocPodl/Vu6F9N3Uy/WaBw8/g25c1JhchIlo1iA3ih6gg4xYJS5iXyjcFLhKvhQtWMUerENJZREKd43WO7F3GiAddThjbooy00NKBwM/aw6VJs2P045oMD0LUTQrs2k8KgupiAd21sGYnvgp+004u467nyDIUdP0aeSxPbGoFUu9XKGOOYAz941y27GB5rMNIqFdXv9dtkqNQyqVoUoY7l2IXkVdl/dl73+mlqnmTfy8AmkhqRyV1xKfPigm0DKF0dIEMbPxkPC9wUGM6o+npOdRiMXlQIum+XHzqmtNvVNRJAmx4ITjw4f1fOL1vXwWJwOmJ0VTo6TtiNttp3apSl/xpPpBe/Jx1czRykvO8aiORTkg1UbP+yuTgxlifuzqjSoPVsqYbHPw3yiWD9lIlaEu+LDcKL0M8Ua8dAnPQgx+KyA4+TgAf10ejvASL7nHVteDe6alX6VZ/YlQmhyTnGbicXZq36K0OPAFd1fuMmmqFZBn9kOn9a7ixpO/oenQjMM1Vct1EhUE0KEuBsNBqapweTw4S+Qfeo5bx/bWloLYYOyOveTPtQLbULhwDzmxMquXhRijuB8nUKXAuCL+myAK1fT5ykBwvEZs57J4gXkX7iQ4quMuQxeZBCixTXd+PZcgTsC1oitZr8k+H+MCB1i/rwJ2AHwncB9cllNykq6ZyOFmM5a80HWhCpHFsy81uNtQ0o8bojcUQO1Sq+gsT8rXJyIQz2nwRw79IxUjCw75GzM/Ln2yPvTUpjgthonOJdAuB/A1S3Wl7V9MOiJRTbzTptSwijjpydJmSP/536NTRy1bibIENhJY2ip0191abhQ5xejFtnECOv1WaTUa4J7Ip6SaXzKr0/jJuKiwevHsDr+49pX7PvqeYNHPBMttKNOdH0xRfWi6/s7YX3S7FIHl2U7aMIh+f3yeM/ABdYl2FJQGsQ5UxfLqQ6agBCXvH1R6BUxPYhJgXWVK2mux6jDn7xpzcSZgzfe++yPezB2PWb5VvSPORa4okv8QbxXXaBadbE5iTMUH6TnlA7agbhgI8tT9nCZgdD4sceo5shrIYROs8RjUmt9EIcmTnEJq3EszyXs9vdqdyTZwgo8bH1H6vwREM3704I8BJObB99APkk+7wQQVf4ATTlEfP10TPgVUSRSoBYeJY5uIbnNo9Usax5IINQ7ytOZt5LdHk3wBhJT1duIz8OFKdtfwQVp1dQMMx0RArz2Skfm7MtdkA17C4ogtTHvxAsqmjClNKBt2i/FFAsaaAiK1j+taXQGGV4FG+0MxC3UM4X8YjwGvfLfRVZd52y675vaPyGjedwManJh5KjQ897rSYpaEKz0C+EkKOWX5i25o//Tujv+flnPiG3c4NzuXK2kE/T4O/co8CqiCcKdIlUS1n25B4BOkC2aRi/Ga8jA4jwXxmUCJddReZqSJp1QAKXr9iDTnkZlsFg6IEXHDUm1LzEo3PJfXni+02LIvrAa1ljUbhHzETOzSWnJT6x9CWF5/HXF8tj5/t9vfKgLCNYeBEbhgOQUYG8RmCxspzNtuy6l/X+9rX4fcTruRs0cKRUJFZhTJcS4g72fc/DA3SNc4/8uaGzKsHRM9omFGG38zLCff4W+0AB3GIqNfNlNfPtCiBw/09E3fehh76eRq43qLhHrXenz/uNyuRzrBWVQfAyCHNSyOT68sPN6Uy3tpaL1x9hcK6j3G2lM8WGPf6v7awGEj0U9mq2/V8n107SR15VINFIml6MX2VUJiJ0vyk9TSWhjveuJS0dAvgQIoxvcs2nOcJmRQYtfDjGi/EzM4UaT4erwvAIqrtBxZpBEf4E7oZyyYdA1CROt4imBM0FOrL3p38Qv0KGJDKf2s8etcPCJnrEEDNXI4+D1FBhHykZohBYIZM7y0ht67Wz62ieoFfLljhcBln4/A2cFg37KVWGmKMm42JlVq6hLvMVysSsGfZcXoKgPTUQVO6JqMrUpceKGioaHcF6kYlxvLoetDywZNhXYPeOZx7OMCGhYSt91Z+d6O/Kd9cFvGFEmNZp9rAXp2U1V0frMdBLD+lyzuz+iOt0LwcKUVdSi+S+WZsYOXVCmqe5x1Kkr/OqXaXdt5WyfHttjEVNvKHi0e5YnMxeGtXcLIRev+/8ev8XviEgb38aO26sVDJYplgRZ7Emi/LQpQK+VDuGoorvznNsInPxXc8PWSaEp2VTMmHopHWND6MK2coGfbqt6yk40FEwEyGw3pC71bVO7tA05UO6rb87qTTv75XU5Lhf5OVf57guMKb+VjDD1gveFvxvpIxLEwzYRNuSjK5+Jzt8Ppl2Bb4I+XRxqoFbEUXe5uzx0/odMJQSPoUSlCPukimCNsuxPqmYRrIJ6XgNPfOLmXlrZp+4Wz/ToypEv2jXlZs7PGnjH3izr0fLQmwANE7IPS5yFJWwOk9DlEJMi3W8fSlzPXaUqYB4s/4KMT1B2kAipBSJMLwEir/z5cA6/Yno+SXVGL4dempck/onfd1ON3thW8eburhC7WVMhGdBI01Dp4viztMnl+SctmZICkg5Lrpvo7HeDQMmeQC+SPLEpsBSqNClPnwZrgs1K4BmauI5n0hutnNXlt6ed8bPaz7JkTabUs39D16jnFvsUGbVWlgpKxAdG7rlwWicQj/4FLP+KvM/jJActlksLrOPkSvNtcBQ68BB1ZtJdO2BNdwpTJHvmhCXono2q9ObvPi0yGgZisYAFYJvtfeHjyt23QAXQCiS6ywtnyTJFPSJm+oWS0/njNEG2U5If1DfRiUg1r7MLcIuDJWXeLT1LMXcmQeXizIBTp5VFUbRHXPnQGCjeXBCtXZ3nPaEcP9zmmKK9C3PHMdl0PNRHcA31NE9MoFuzXHePXCEtB/VuLT8aYnGYc3HI+p2RPhOQKq/Q15OTqfVuZjPXI/IW6sb8wfBlUl9+NrWtGgULBD8/6WO0yZjMwGXdQ8Vb1THSKSg1b4kTG9RXgq3KYlVO+w/aMsTcNBBlW/TuEBJRY1h9xyGxHwqTnd9GIU1s3/qt+ziK2J8etkeYvbsWVVXNZYl2eeZSo/MSapXO3Z+6NWZ9fPWpPYqFWgUqw5C6XI+0PACVHTLKMbgAl3AGj0CfVwiP1Rm0FnQFF067Zlo/oF0P0Dz3QHQ0ZSvhUBNHam3j1p/x0BvCL04eXeTEnQuSU6cXw7yf4SU0P69Ty5yUf6rWh+AOizSy9WxByGjQPGx3ypo+8H7nMj9B9K9QGN3tkTi2UNwLGPiShMxok1jzcVPZL1+8g+al0Z4gKeUxJ0+L2RmbWgt73Tfz5uwEHNsmgYMzqPzo6V1zznsrkwvUhV3Y4MdVj5YrKkFO0MaGYYHHqVFlPOcfk7lWXyoG1lPlzAF59N1xGApb5alrichdi7FPjizLzTM+Y6hsML4e8TKLk00Gr4hY9cf/P1o3aWZnzpyjRY7rAHpQHL7sd5ySVdlb7uliT2j1p4dgS4oKFIwcwOYZ8JPWV7oP9miThSiK+3bwTYzkU6U6X6Tq+QEJ87RcmQ+/tJTKDUO6Rga0fzc/GWAcgzW8MH+NAlB1Rn2G3HP1kfca/CPorfXXf38Ja+bClZDT9Qi9v80ARv5k5+53qihMsL2G/rAGBzfh1SemXIJMROy541CJaDNFFJE6dV0PIq928gsJNClh4GYL94+h2Yf4IuCiYLYKfdqEET0pUdyF/NyEQx87eF0lFeWh0AiG4H1J6Y3X0UBQzb+kSOZUvYemMrrUHr4uqfWOJQjODL2MjH/KXOP3aEZyCLUTyYO4tGdkD393YbuWafbk94i1xoeWM4yiuSMeDQk5FXmIRZ5ReM6nw3UWk4Jg95yS+Cgr9V7l2htuPt7vTrHXrCnz+jkBm+ccbq8rOua0ngyvuBXAbWu26NEyZzzm2PfAcWCPqPARo+QAniY5+44im/EMpwTS4AWyeP8k+ZL4Gd398MwG7A2L2bP1ypssRGEt80MT4jtOeg6CEexLKHyupoOaPRa377SWH9OvXEDbic6aTFEprgGZRCP65Sr+zqTRiR0LZmAWHwwyLeepSh5WW/lEa/o+5I1T9mf9nRPOP00er33NGbT7uGjQoe/itdBlb6ToAI2hkIBAP/vVJaniYBIKZvzqIpVT3R8nf8KDdXrX3fsjcm1rJIPAmq1kLtR4sZYRd0L5cdW3MqEnfVXkAYbRp7cBXm1rXBc3tFUiomMoB7kF8fkXdVeOZbHXmXp5CsecAcY2BPglomx2FeaddW3qs/8kWCfx/x7gXB9DUSQyR6cM7dkYdEXowMNj2NiOgZInyYPLzYT0AXcWgTdPUreAcM3OX9h59p58eZvHEOVVKh65fwZHa87enD5mmpJfOr8uC/rxpHkeVpKw1a2tAfQObW/199bNZ0dNPCGd2xW7FZIBMNu6WHEofUJXT6djzbfWSe4gYs7X47mvFhSXJc+Bp/kktN0Ez/pxjkKdwSVCQv/mZ08fQL1UR9tt662tu8N3R5MeFLuDeBuWwbmsAQOfwl61UqrsPUhO00/NJc2o6CgKkOD3hPGHOldWpsg5HMFsNZCM9YeTy5aIgjoWR2fhmHt8l+BVZKP7iJrjCm0KgwO+hRrTuOfwqaQn99FbhUEwzmWLEnpI6Vvn0IRDo6wGoO0NcfExEn4JqYYOuPFHFDj84C+ojOvdP7CflDcmViRtWArxzX5CnQMf9Gf6Y1e1r+GRgjPH/bBC9ZpOTSlTSeBQGgoUOCLNOCT++kmz8V2tYbxqKv7UI9vnEiBm8D2jcsPhIjehw2FVW3rj9RE+5HBdFn6qkftdkQiD84zmTCgqeySBVizHGI7EinCwbcFbs/pqszduGfQQUQKmQV2ElyJWRF5p3/UJQVQItfow7DMAmfWqQe+xcEV/9TJxtnwcevYEZDqibOkatocZqySH0Pi5H5rp9BBeWm66nb3DfTJVPjobAG83lWWogmVcs+PBKp7cHCAbG8uxjbZLzkLGKgFolbEZUZ/X9TP5LmKknLsaUJSHJNzCGvOTbo09UMEb6n8bvbBEgBdevqVhZKOatHhMv8jEeKdZ7ETMyUfKRuHdEoTYHfQis2M2uJ/mimvtbj1BbqCN2mpGx09L/Gqv7U9ChHNF12EJq2S1FRC3WFYp1lDo3McHYMY6/cI31TZfiy5TI1n524X1aXAD2G6jiZ0+yM93r6l14fYMSsgWHXFElaAk8y8HJZu0lBnJJ5x5HmB35FJhVdamg+1y88hwJPunc1tIhp72VXaZt+qI4AfBM2FbCJ6ktuUmjEvSC+MsELL1OvTfOQnP6iGL9BFwS2+k0RKlT+clmmqy57SJRYLHqm2uPpN1zV/Q7/QZvnhLFR7jP63vJMYX+dsNK0Cfl0i3mc9iReULdfNlAXJgX5MdkHrHgtHCqqlXEQWXmUghkIbgUTFf6JS3UEO8T+HFEhXCrVFcAdRMBEZ+UG7HqDjEUZ7gsbPFe74fKzqGzG+uRmyvYNRuPREJcRs0ALdejuUxqLvkYRrM9++khD1w3yDJdqwYmRlQCT/mBF5lNYpj7HgRpqopmk/jmgiBZ8dTRoAERfS5HXCsbQiCx2eAYv77QTfI8zC9zPvHkpB6pioqwm355gm2+xJTCGMCDvIX/7K6AfOmW//yU3cFWa4lKr5QUe0IPGbWVWCwZMMKY8tPm3Ec7pu5S9i+ktDDWPPxdCMH0ldtuAgTEHSYywF3BMgn4cyR9rSf3QaM/0kTkuaPHJYVRFgHEIg0d09pVjKhWxIwDH2QCISidnsP2I7zCQPH/oBizqvoVrfJSjK5mdSCub36LKMksV+OkdCOv0hPJJ/Fv1j108vD2S6DigWsOxSjvbVbMPB6y+FKVc1XPne4JbNv0gDC1IlEy3hFS1QsJIXqIccZGQFkaxxl8lzULIZVqoRqccXGmnAleTRvZc5gVEwNGZ7I5paI9fW2Mi6cM6NsEHnpXqkWPsNG2P8PCcq7PmBRb1zoMRyzjau3YeSUTtJVMpR39pzHYQUuJ6XnPxF+J6FHZgnVS7GJNhozZ9/fBhRxyEep+4S863i/+zObFze3b73owblGbJgMg2YJXCamnRcWkC9BjL1VAG/2s0nULR2BfWLhMGCro9I1L7eA41zVNhVNjlZBXbyT4uotQquGShU3F97BmSNvyxi01sJYOTiT15DgIx1PuSB1pHHDerbEDyWr0WT1azxV3T5MmnAfvJrXmoXy17X80xEjOLQPZ+JfOFJtyRa/m4+f8X3WL65/KHOvKBFMibEfXtN9jNRLUesF+NhPRrO/RJWC+QEgL9JoYwfVNIBIkAsKv2lM0OaUuH09hMQfnWp6hW4TM/MMQKI9EB5VxkIpoA1/JwCns+ccpyG6htw8A8llSSBQpMEeYuQGmtJO+/pWhcmCUC+s8KfC/eldQyqGOEdKNIXke1Mr+rfQ/2s4RV+f4slSMZHsie0lQ8u9uOsv1C615oSP2AZp/sswZ2E2Xgi/leS1/CLzFkHgJbQZAKJI2zel2QzBZTGMZK3VoPaHKru9MhnaSIC2Vdhww8l9Gg24OykE2qOIvNdKVGWMhu+yciMttjeth1hIhVRZf859CWc7sDkulO8KKhNuRHarK4WJyapz2dMhqQC8vCkFnQG+LG8Wzj2bwWXmXOCZIJFkYVRgVh9OhG1DWPk95Cow==" title="Mekko Graphics Chart"/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152400" y="3352800"/>
            <a:ext cx="4284821" cy="2618740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a/oXf5nEOUIpDbBiyeHXG3NIe66w3U5cVmZvndBpxemSNdkLNlhMoK+StKr1IBqmsL+dfvNxWanVV2AoeEpLX1TrNmhCcJQCwPA51TfZs06vVqU+Voq06+p93y/rUAdabHmnwW7/81jTdP0gPOxBANorAdse9xh+3I60XJqvlVh3chXNYZWw3NzIaGjPjv5o6Ci8gv1FYPddjazmPUyk4vP51fvHK9H6KjO3oL76mR09u7XzYeVbKBsg3x4l5t8G6v0iaEUyUlxGTNlMRApYWV2Hi313bQv2564sb8mNhnL+4VTJcziQ1DJwolstA94U7uhvdhOke/zorMuPpES3/OlyrCvP56WLC6IgbSvZ1q5mezMJoyB2fysITP2yj43TuaF3RQhqJr44EJmi8IcJA+RzxgVVdsrjwQqrdlhdSN8AK1BWloA7khpidAyyPe7bblbmRmT3kuA1PVot/qaFrlJ5IVx1mzeCvQOqEW0Si8HrUduOxqO8Cl8LKZ0unzLTvDndhwqu3ui9I9CwqvrLOl7sZeNO2hBwKTDU7Tm9kUL1tiHVVavfCdyaPtfvi+7z2UZtoZu7Vfr7xds4+DLXwLJJofTwKemlT/qai2WT8/c3NQY7QlznlqPUlGAN7ac30piEAiiDERmXNGxyjO3aT8cG4Z8A90c97OfXDPYGh1gDPxqOs6/xvB7tGUkdoYMHKizW3C0JyKrRu4pWQ+aTa9dyXtzFB+vuY2bysGDEgh7GXsISmgFCzfgoaLPnqd0HK31eOPJ8xCl1nMyUUkQe0CBzWYdlRH3rYJflOyWtKYC7ltkJjLDY5G0xfZvEYZl5JU0uGBFk6AGckgySecPJ9D7o2dBkbuGJxBNok6vt1XbnbZ70mbIbGfAegZVXY9Jsaua7QfKSbgTiNxo62Pc71TIJ4QmVPFtD8im49fPNg6HdutHpNBY2yNAXIm8XEF+HdyhRKT3E86jOzmXZ3EE6OLseowzARMOlZ1sU/U5oyxfKtUSAL9qWo/w6E88t5GMYRo316y8umSjO6Fp7YERCV8DXu83Cp8mGXVXmnI3yXoHnXgPrEzRTQk1vS4LoNefsa2AHpmX5odiZtDG4B4lHlIP1HOvcPlTvSQ/v7JEbeu+ZebPZlyACh2cLDNhWNZqclEpbWjv+t1HCoVM7wX7PEI7ykHNuxvfMx7O9Yj51xrz//zPFrUTadO15DxYJLEWiIFj+jtQH5gI/d3be2ZGfhqq5wFMA9cWUP8qfHvpP4knpDgJumdE9SYneJkunM90DOUIgKJZl1JzBvLnt7uiji1pcSMCGc30YxMda2PRmduqTKt5By4EJEmofvXiSGsr5OUNhpmSV5/2NTqAT2AFyLqzbCJqzG/Ba0TjxInPCvaIXwm3YJimyu70SmVpvIzzhmMVNUXCQwAGTpfeDZHQ2chfzS47ycrTqOrSs3fX1+6BwtNSO7WvI33UeHj6VhMlE8fGHna/RdC+9hFU+2WjeWpVswWzNqlJKf0nrjDqH9i6tDWFUxaEoogByu+8npW3FCTcoo9wTCGqMI7my29PoCAXUUE2klWY7spj3nroUec6MMguE3LKXLo4g958Hx7/Nbsk4vB/HOWSw4wbHYm3njQrEOcC9WGH1A0gnGU1p0ii+g2chm6mXQ2GuuWdXj+juK9bmSWEgxvEhKz6J+l6qU5th/w2k8VZO4MnGXIgtbTi+8Hq3gmgwD0jkx/eAalE7qiVRYvtsWA72jRanblvxCTCz/FAjJAvAQI6Y5eWCIyR8K+8Qb/hJjilahKg6cgMyDgoBQULN7Omjt8Ib+IzWb9wN5WKBqzVWgL5gc0QZOGIaOMFlrh0imedMws+hQ7NBUyC7V2A3YO36Ei6nTbRWwMAEXE0W9ZIKb+ti+dLBvRn5J6wsRKkHYrdJ4d27kH+meHhIQAogk3jrDs8jAGS6mfgYpXK9ocqN8lGpAKe+vHkZxT5LDZR1Ejmw85u6QqZMEmSYAj6GuFTlG40h9wRulhfOsSsJMHjiwDyJ5AzR6TVqzjZS4/zw2/DQvZdFI3GS2XI4QUggO4pecTZpvI5kOlpIUjcEVgFED3OYzFmYQ5r72VRu3k4wnlmJnDS52iF4a55/+nszCaJhjFjElmn6jN1JU/ul9IouSeQlvO9gV8k3SuwDiLd/4yd2DEgzfGlSwPUz5VAlhrDoeA/RZLKeOOYECFSAvxJo/K9Hu3BXVoyubfsJzG4kyaY+S+/FxSF42ne5Wr5CKqeQXSvGpzYbBGRMioNcRyQuMD4YVZvtjDE3mBwt6ltbOoywPz7va+smAlwNvdx2aHEL6DY5Xpm1CZkTKLKbtHXdxRXTG9kDr/okJv1bdhY78H80Onp0GZ/oK/LCExgLtC6lijvSNC/X2l42/KYU+CpMfY5krGLrvq/YDQa0fZi7c2wp53d0dzIPDmZvzzmeJgMtfs2rStYIhFU4mAggA2b12zW1Ji8F+q6n7kPrjHYCq07QWGL1MFxoWOdSklDtWvZtEhnzqFo5v+AVaR0E3JDb6yzbj+aJ8ILyO/w0v21MWHus4ukkF+mwPjRcSA7E8THgYM5RnHTBUsMToY6adUDTnHZXVDiSE5wAQOpY/RhAIps4fn9yOwqP1w0rSQ+UwOeQ/REh+FAPiYd3o0zfV1PR6bdllTPA9UiZ9sodf+TzR56PGYsWCwUaH2uvzS+ITUFrJ2QiHUc2Nj+l9g8GCMEtiyjgJdtbNAZOZIRlfM+uHJQ1sSvy+HI2sen8GyMRodpvC6r+fZwPCNhZTxyeZSBlLKcoXzBv7O3D+o/WBooA/cC3IaX/fV8sWRnRXaqB5YoGgsYkraFj6trzoqmhBYZsVHFB3pg+U4JSGg904oKaaJKU2HVi7LEfcS+MmjEdvj8xmvMzVMWMyzxSizTOEUVFDW6Uvhoyx4NifGLIcBvP1zWv4XimblEOwTpZiti6xv5NdrOvjcHC6ko5MamHgasj7ltlhS9+eDc3Yv7UDn8M/1KqAv7QqxvZqVlhlMwHl2xgN95MD6Hmv3kEHrVeNYD/ba7gxdaV+ny7GtKdYmuphFEc6hKZbFSPSw3p9TM4FVAnwtXODl8p3f6XIKI62oGeGXO/e8JbKtaMO3mhe5kjOZjmczJxl+o2OV0dk2h9KyBo/6sckAIX72UoRLeOsPrkjUPHRu/l1Xac1gcakcGwuQDslD+2ryzkKBgN8K5edb7RcQH2L07GOBBpx19wrHEwzj39mRWbZIWznVKmmk7l7xGLhZNuDrKk21ayS0Ly8AVJlUF8CJmrslUrgdFqeDSamFq8yhJXLb8r9SWEbekAmMBxEAd525IKUOL8QYsR7K0+X9Z6vRbswp2RHuWtM3pqaTX0IHH5jFii2FqqqZSQmaozHOD9JnN+9gBDQHcrSmUYDKJACGJ2lsMVd3xfD8W7nYwb8SouDLB+YxZpcGe32bgGKaEAPFhDjoOZrqr6bsbruHi1UHMXzwuAlp40MHbuRBh+CgbSzcL5Yy8z6TXdGWF2CXdBjuo4tJWmp1oVOdMevHJGxZiglSp8ehWRdBagglZDAcvUF+XR1M4yvqBcsCiDq0jZ8Kd9iyZDaN5+qBrG4nZX1fZ6BZGWe0x1oLAzh5bJf1id5xF0kEUepIdJlOm46SvJCZ60sPenRuJ35Di7BPGwiCo44ilETJ7A3mYAa+P5UKv8rfedRSLEYsSVNvX/e9wvGI34kvu9/CTYbtZrixmifohCS0yasxJNm2c/tVsDc7vEm2SBVZC6zematwwjJajy23um3yE6Bcyo/IOYk/di+56pXERBbGEJLMX2zu2dV6yXLjv0rbzWk//+Gve9OWSlrISNrmnqmiSOwfppBkGKXMaKRLKbEe46B9lTGcT9jr2cg/jzG2UEId2fm0oUvVmMsa2JltO/zhc4AlueH9RsSf1gTxK8acGbJ8SKXBMyuM8wEaNmNxhWGrSq5A6bVmS+R+z3EAHiV2NrlZHItBU97cGQQf3mAJaybpTUZBrMz1G49JuUE77mQrKCOXYHBSGKdyoHb8tiOFCb8r+YCtKv9bz4m6sbUepwO1k8gMZgacRE8paQZw7zYVLp5BPXsx9y1r6jGif2+AL1um6MX1b6x3fkdoJFvWLhuvBOVGNwK2iHNj2jMhogcnGU4ipARPNp3/H/RwJQ7NvBzULXD7FuWvYk0Dr7FmbKXKEgFgjnF1TJLII3y6gN7Wk4Z6rj01At3+5aB8oknYaR45n5MvnRutObQap7cHJPBRzusp0RBZT0q9KeuSETwDgsmroR+i630yuZiZM36yEnfimSedDLAyFQT0354bg3eVoxV82O7gMgQb0OjD02Bd4bYZswVRv/5g1hERbndoZ55VLWRASYyHZRo33mROrAuV7D5s1AZ3XKJE/Hw8xW51ZG6uMUTePkO/XMevcd2cT0YY8tQr85sdOBKbVAM2dp1RjW4rJBg21z1Rx3MGeWFnPt6TJfFgk6bxI6k6ci2fvDYK6RqyIgGWSkyQt5AojFQA2WE7qk371np18GDnbQrNPp4hwYqK2jctuUCCY3UEs4GWojONtrkWX3oI7d71wFdBptRZY76fTnRugULw9DJLXlgjSm4OF4PWQULP/0JHU6zDKr6HQGIr1Y35QtK+WIIaiAnUH80KOg8rchvSgYuwg48L/YAIlryNQNEII21bETXLs7ezoM+NBTS3ImS3+qfcaMnLtIJTdr+hvFObRK/hIQ0dz7LuIfWlk2LJCTUThWnzUa+nSbibB6RIklCQTRZQ4TCvF0wMw1IebwIV9RBVqLgB/nX47SveGSFF3GMAY3/F0rKZ9u/iB+FJ2sQeIHfNc+CmM9vKbHpr0+pyNfNlG8WzW+Gb2jRNsXG+xEaqhiUFyNhUFQax8XCHYJgpGCV/sEJ8eugY76+cPt0oWfn5CncdTIRXe/ASfHAN8nfxTvr1ilzZfGEUA3DEU24JmLVlUnXWfAGwfMYSdu9+j6+uRy9hxROJlyLoOqeiCeX/xG5GIVBKK8RyhV7lvBUoDus++1cL6V2VWKZFr0RKuUo1rGCVF5DVtH8Ybj50iwEcl0EdYU3xhFAgbvW2aXl4SFA7ojrsm1ANzcfpv9ByuEuOUmHyd4msEgL5yH2EtGRfGNjAH9F2XQSftIPn/R/VprmAXtKMFtArNkQKTnrFFNumH8kMjdMHWC4pOdWiEAMoRlQIYv6h0tV+eoIS2s8Kwvkw112DZS1fIqL7f2vFwRJwVQwu1Xdak95k11j8AaIQ+MWeu5bKoVmmgZckjONz9HvYXfW8qpemLK3UUuNNlJfMSLbilUTAjMf+fXrrPmWzB80joWDuxbosAoEpLNafMOD/zREAo9jLW/P9bAbjRZ8TWtUYJeH7Rddk9UXhP3WUKe0UiOnn8RB8FaFOFmohxLdFKVLaYDWFVIuFcAF2AwCVMc31b6sdIoUJXxJAHO44svHme5m5SEkNwODSe7fi3Jdiap2ndDJoU8pf+sHLbRdovfO7az0C0eRbi+Kx2iWWXFPdoTKhP81A/Vwwt5EZO3Uf/BJM51Zsu0v9TYeoaDVmpf23ZM5SZPCeQJgYK6EzgBDxlUfN7c1KD6vcJTHsYh8SiO/THbyQElOGApqGNyWcVvwbKrufTe+U/eBtXE1PxfMEb3rog0MgPWFEVm0MrRtKrvDpHhGQqufrkoqvIZRzXWRNaIRU8mO9JtPyEIgbzZTGedL/hfHgWqjnpaiNJg9JNxJQ8+k9pVMFonVdPnpVxUaMBSXMpMWe+AmQCGQf6DYU2dJqSh3L3JrnG/I+XW77z8OlELh+YQqKnjf+Nn6LePlGnJTb5zRD/Ul8N5YdxM/zAvqYUfJFGlEOtKQiFHemqFWzSNHYcOEP6yoqO+ZF1sgj30bZWmdg8a6Lh/QXCYL/uAEmrNr2somdMLQcj0uo9EF5bkyAScSgVAX+Sl+eEGeBtVrzkEtJl8T4LkJLnHRr53/SBrOIwHP7wS1mK30x+Cu0ayLl9HwJiNEl7InElPqTzodxVvfeBTbe8lv3y3RKeQILRly2iyhAYtabvl03j5LCBQ23qdUKfBJ2RC71iot+aDUA/eVOCQ2U+Jg+YWye18mBDkh9OlZOOCq5Q3/rQClqLLg47p7euLi1eWBnWv5buUKtfq8+TIWoZwbNj1jh53EJc9me537d1i41IZyLbDpG5oBNgsFPHUgy7Ht0+kSLo5vSTtv1pLqHlvLG9sHTUnmnJWzomyxuh+YS5Ov2Ibm8Grj7pEBjJyTPytcgw0KkuiHs2U74hb/dzeC9LlWvViM7qmPrWv4ZQVseUzw9pbs0SppyOpiRyJ/YC/+NMxalbKaxp0b9h93dInAzq9hbZNgb7Uv8+5llUFdZHHV6NZwfBuYiKwRWCQLX2uqckqgemOKSDeWtOcs0hZft5HKtatN6Q+Ufl3cr27+80DJoolcb6/I3Y9Rr3+qZ1lsrDysdIDKVqHZgW4NTW5MH4KvTGwl3bv05BjlwJWy9flM3HYlPjG0WeSnClk+B7/ZFp/PBEYza3pDhyxvvFgWudFdvjV3Wps7Dcv8cPc4wPRTmV057ssFfBr+0mg2fMpQm72qahixldVFWBznBNdUzlhYd82Cza6DhxlUl4gDnvdpBT8ehHNOV8bAVnKR/05gZK/dWF8cV4WkjtbQpYBT93ZrSIDpr80SdjvC5JiKQWv3z2Z7vSAnoXz02PARbyGqji6erpLBrJlRwkrjIeeqZnRqFJnkk22QTmOwNDcqPXgu3ij3s99CXF5vTuSQY+GTt7ookBbVM+JNGUqG2wHPn6rqpSdY4Ijoql+xNJzNYDE09e6yLsmfx70KYGPxhZdqv9cohWwXGwGhEZWeHdHhWFxnfL13e52Gz5KAOkyjCWYRCcU4dhEFxAMkHtfwdUpJQXlQs7SyC2U547WWfSAZCMiZ3YmflrX2Py8QySbBNiPqVvtn42bFaup+ULCsag9T16HAwpZnmBoMcc3mI9PqiUcpiUDBzi7TtnjFcAUNhBeUimYSQyjY/06VKIyihmIyCMD3Bg3RHs1juOsbTO2X8hQbLuMyg53ik9iWxOfy7IxP2GxAdQhfxr+QTGmGR1I0v3c/DaZCTthY3IzwurnrRcYDGknndq13dgb+vsoHRNBLW8Bzq1LAxMABylFTp5GE+FMg+oQ5m2hHOvkkmsvTwggjjfGMx4ro95h0R8pvbdF+cHPkWs2mWxSRpqz9k0a+/dujqPSGschyBg5I/ozezwu2eZ5jmyGzoOkzpGIU1iVeq2m6Ee7WTZf0rx5fwHWrP+S3AI97hI+3rgAkDy2Z7vhG5p+bTJ0y5wwvzxaONjaJ98hsQm2jkWLTHyit9MNwkupZhvbADwaiKbrYYrp1fkUw5qhvwWsTHIguDU7xUBJ+9gygLuGkbSW3Z1FjLCDzTJdyczAj9W07ET6h92UenHoyuBHl6PWNLJhN9KwwtzVSxnIxKeIYPWmMe9timUr5k8y6W27wGXKKr5gdju3ncvwn0KGpxtUHJ627Eaakst9qIwhFSXaLl3NvI+9Zak3RfN6Q/hbK3cOqHtpc/ktxP+ukukDt9+OYNSOUpFcm4XLU301Brhj+8AAmySAsTULXJMm/jIQIYx4FJrqZtV6bVDUFCp9tagQxjavbQTUKoq9Vsyka30oBS8fn9EDZVN8JNSTcTu04alzFTDR6CMr440jfVefEodgevmb5B5U4uvh+JepQpC/ncmFEvK72U7zHClpu6czbMtq6rq2wDYpmklmUdktjCLrA7z84ae5UTPLi+gqoEJXiLurFOhspVoIi81G7Kchovni96Q3jM4RyJYWkaBorl8M1ysUqhNdAKwQ4rWZrn8JoWV/Nffv2mErNVp+5oLwcYCcBEYMJjRGyFe42QcvL8bNVB5AD9TtbexAmk+sqakguIHZ1rdEWFwqblhMcspuzDJNE3am1AjwZARRlxxViID+E2StWKt00ntLsUknFlXRtLzHFyWjDvq9ziTNaJPAggeTBN2v9EuBK0/0Do/HsP0pwhNUg5bndZhX0EzbagRlQUfewM44gtepKF/UmdoUImaJRFiBwyeQweYzv5f7qCG+1ttz2Rpi5fHq75mYHLUsWAgAnB0M00PLbgpIcvj6wEwAhrYFxzxO3/xtMzczWuQKMUR1dviGxQhZZFMhKwMHQqdSd/R0soXpYVSOxH5epiyevzl18Thtm1hO0KiPJEeakSMZoimtTenC1pA4Zwep+pIQ+XkxvPjaitgUnudfb/fcxcHOUXJX8k8LfmL0IYC1QkQ+J42dlOKEu3gJlu48RuSq/FzvNWDwuYgpA/N8MIfMQPNFyPR14FMnHfj7h3SvyEEuiSFFBYIF38ujSGnYfyja2NaJ+LEho5w1acJWOj47hXqLThQAwcUX8z0ErvmsOjvDEnFwe2pDvXt3hkPDZB0Hubj7MZ+e4jolgg/P7BkjDoL/zKp5eFXn/ZsPNLOeSwyndMbnDU8oNls0PeYcu7EUaTmFezoKD0FPVQZymIVJjpaeg+5oCshP7/+oz9ifhFiL+lbW5G+QdwwtRyR3/n8Yyf5B2yeWCAAr+zSEwvmXeAHW83KWwEQEaTK67Mv13L856l+cIV9VRkLYwleKWQG2pDfD2oJm3vR9y31Mw1DtkkwC64WhWNQz7ztMW6Z57b2WgA/38Hc4fkUMLZHQDdJRfb4pNebRShIzmflm4G1BeTGuIPdMFXTW7tyDJ+s2X6F6Erps1OLY9odwn4k5ZWArBa4yHSZamn8PlP+xxTEqKkKK8AxKb0vvNj1pxfP8qOnA8QGiBCTWL1YLknzuDMhp2cQHsZHPYeRcCLeIpNXcnjzjBEZoZWjX86jMj1sa1kSb5mKEIjChP3huif4fyhQKwCfn6zW4fOr93aFdwNJTIpnUWJWlOQiBR0s/fH2EtRXoeiynCZ+5gYWHDDFEjTMaVvekFaBLSEuKUGfLTJFZa1TM3VSFsqvLK+lbdzdP+F2wwulen9K7v9wCys4a5WTgdBFvnxA6Z+RQI/g2HLZfhL63fY5lH6vGeiyfCje/KPt2eBKiHSTXuqnEmFSHisb6xmK5Jw57XEOslb6dfu+7azXyNhcPVmPz8BSbe5rWcCUvYVZQv8t5RwLSYx8MVVSxrqi9dhAYanB6fQRVZ/puhJuSsBbpLV8cTzWMeKin9IxW+J4Nb2ssLRN8QOdsBAmT8oWwvz3W52sy0h5EJN2yaES4dYX6bUE2zejUUuU7Mb+nOmpxvnlCyTLFR+X7Qp0q9ltFsr454xkJBEyi84rYWAWHS/Wklzq5COSYVY8UHnUWIGRFAsq3J1oeZxpc1I7qbIGJx61Z2kYwUT/Cogyo7qGDDsTnzuGf1ZgBTYP2tHkz+d94BfCeHdL6tmRlMeo9ld4PLDO9r10WLF3W1DzOcmkeqA4Sev26f1xLlPsLdfJbjxG27O16ey0U2EBZMs51kqCBg1yHcGpc9qdAuusuu14FEonDU34KEyglVtv7qc6urGqnZ+O46WM59w8ljguKuzVeOGu+zfSVx4p9QF2ulN4d8EiR48qfPEWNsU47GdDVqLcndPT/ZHSGIOYrz0lV1SjSD+55/MeyDfWFBQIZE5uEy1+kJgKCofi6aAJjgoMdxN45f0D4rF6d1hoNvFK7GyWYsHS0tXFta75m0WVAHwuDb+AEhRIMg6e89YVRGQxD6gg6WaDOzjbSqOpgpUm6UIKdwhjsGkc5UADZEHX1nuEOsreapPgzw3aEpF7qSW1OYCMKOB2fHAr1NKehtc73YI1mHjfbbVSCqbtG9pU738pSTl+SnH3SMBP+MCb9RHZ5YRMllYpcfN62kGZfxIvQlQUEnPNEOReM/krYk15s4uPuVGAaFa1qBgybGszfXV06Ng5ygqiWhWQyVSsvbs+eFZd8bY3xalrji+0KBhTUjDi0lW+BzCFL9UvqfbDq7LCL+IxDeL4hAZPMsyKjZYpwyNHpLh94lom97r3AMlevvNB2P20VFQuD5N8ssWBiEZKDSGbIGvvnXr4kWFyUXN82xvTAyc/rYj/7d3MgLgc696mr97KkGJJq3DJeT3LrhH2SBMx1m9vAI6Po1T0HpWDU6N/IMlctJHPpX/mWIzHLPuOH7EVeJsr+V7MNCO8vouXTd+kMBNODKKq4q6auV8cgxCX23ueAc1dhXKr3Pe7X3/H9G+GnhLb+qxKMC0/LQ61pYXT0WHoheYJR3JOEXVkna/JU3n1id+yylnrwY2t8TGnjvLeeJnxBjdayYp6WdShhTProyKgaHNT4rHaukQu2c/MOLIIrUVJgrPOrl3LFRZgiXA8GysUnHQlXjCDEYocHZqEAxRU4aGtBQ/VleCkzk0PJyry9PW5yfIgnGazNLIoHuQcN3lfZp9iQY82mPd9nbvWgZELH1U1mOmP5RaXR20/hBaqgUHRAvGxTUY+Ojps2GJOYFUVvd+MxL3N8cpyp/og2RchB1DXWxBFIwBQJrq+RassugyTNdWtfomIE359ferhVT+DTT3pty6P1I1OGnLEE/YuqCv+jPPQfWkq97O4cI22yjl3wSzlrdOnZp86MOIGCpYCAlsmsxp13vhgNE1eubflySqs/j0n1p1bo20DoSPhT+L+uUE4c6bx0greGfPPzZVKQW3r3r2CUKazmGoyw6AViSb0ylMXYmi4DvjdU6UFz/lhih/WkhVtkUEiAFWFqXMRUjSjDzLEVDsmps5j2/HN9e/1ClQTw8Rmok/ejL56Sz6xKjZdFEtdlOG89G4zb68JxXgLbRDZd7rv3irVOynsmETzmUyaA2woo6lIEtO2LNMXMl8HQnHlhpVnaA8s6yRld5tmRle553ziPvKJFy9PB33J5PqIvXgj3gwaCvmXFtr/pTgYCuMtf59BAVLR6e/tvP2u5qM4d/tVm4sMmWl6fDQZmTmoAZ3cbUX38iRGkt/Y+gG16mkxVUhGYgjUr8OD8Nl6RDeFb6wH9q3/7CoNicBpdcRaGfFP7tIN6zTjoIaWXu1IdDvONL/zdTmbrlSvgFcURVeRqqKqr8GG5Mp5y1LlMrnc1WjakLHcI1PxgQf0W3wrgx24Yzi5ED9p84EXUIza7Hz1yNfgd7Lsyk79oxbFKdSTZ4wQqzp4xSS8zWQGa2pI1mXSlxgGr+h0lARDOGCsal9UsmXI+yQPH27hG8SGwiKPm5gQcVd9c+yGY0k3TwYa+9fv4eI/AkXzvOUQ+/+j3h0dg4dzzfE6geGhtYuOVGw1j60QSTkRxyg+7j20tMP13h6ZiixfZX4yRCQaLfX3YzvW2Ofw7V8xxMcga3XxJUTX8btm45DvCNvJqvm0CUWWGAeIRDd2Nf9IgNh/+m6GE1TP+vG6sft1jHQskCh2MCyRwDE5G9nrOSZ2jpVQ+Jzf0iItXTt7hMg2fY76euTs9TrKFgSojrVhETmK1jd4UeAdJUhWe1RSQ9jQlsnU2fY9c0XxFXC9zP0DTbVuNXNCP0l3vCatdP11+GTZ3+7OrJ1v3UcYAHDmuVrTx3UQgFljzsCf0Y3k5bsFvmos3DzmTmwhR/8yA9lcnmbtPMtG+DXE6JtIT+SMQvMDcSZlQYeNS6IsDUbJLKA7+vUb2pFptb5vbLMIZ2+sP9oUNiLLWjoCu/nwFr7+AuPJU/AMWAbroVbpimpDlMVAz5b/gQ88sxtTvm6jzyYQXwMedRVNmQmqkWoO1yjM/Hg1w3NS2GNfim1UKM+EcbM/hoUJfoL757wpS2f5FW7hS1Nr49GkkzGCot/GmNPiKcrBDgrY9uAx4DPla7JmuB7ZXDZN3BN5RGvdli/3Kn3GLFJS/0DDTLVU+wXWJpLxaG49hayaolvowWnLZLi8GIB8WET0GBzZ8I9bzCopl3rBwsiBAJSa69e2A/Lu50M7nn/nmefKujaYmmQYj8MCopYCGEPjyMIw5ykg66fF9gT8zVKE0i5klFvs6oJ6mLiSguwVQx6uJggcp1zpnEYb87sgn48nCc/xT4bd/leuPvXT71xK9PRim5EPRjikBh+Pz7Mi8dzk9raq6uZWrtLEF0qL1V/wjCIrPt+b3B1ery4iTdPgRUp1wiidJD1M2rRWT+9EU3aOWwYtfBy3MBB2eXIt8KGulGkGZit9gatjwJYVDjvorbAG7CeGZ/mJmipTQKU71oSfQ7Q29R/vmVSiKxXBtxUdousFtTFfmg9dy7lNsJLLTKDlwsCRIfe5l9JIiaDktuj730FK9v97QVCd6B2VsdSAHfMZu7jTmbCMxbuubRnZBcVqq3254dEud4JonXU/Mi5uWMQzpioE9ZOr9+SDYWrVqhbvxifX+xRmqSXxwdoc5RI0F1PjYd6trQaQDvBFMfGcZ/Yr3T7onzooEWtPdPQSQKi7+Db6aHhBhx5GY3rextEMVKOyhsMi8AZZ/uiL6EG0MlXeVkHg55PeNiyyrvH5xH5O6XsZDz1/TYQrjwk+NXbqvN9jiVhIFLLc9zxHh0mNKxaqyzzPJDMgY4Styl5My6yUaCl3K61VMdM3CdumJ6oPVitbCm1arbBC4nfj5N6ZYo7H3JKJgTHW3/FWeNwalL1s+nU7saTbJZ9fAIDsIKV1JuquVlFb6v1Ylhpgxp14YGzz+Go4P42Wm4bvIurSLN6MY0HKu1VR6fjz4CSzO3ZdsN94JoADc+tYKxwjL/DN9ZhecQDIRo21K2tBxq1G2F+EZem1+nrxk2lz5muyJDh6sipq7wCU1pab2+V3/3g35Nf1siuBwaePbf8RoQZXV6U1UdXFmiXNJIA0D4Dvt0oImiGQSJ92P6YcqWJ+o82DDSugjTtIugc8dld7GCt3rdcbFOJK6UcIW8jL9ZcO962mc0MFcaZC2iPaVJkurRe3u4LZSS5AX4j2yl7j9h7SgdSFwyeayhwKEwjdTlPlcnTlqAlj2DKgbd9cSGkhkDbJXPMBet4nhlAPuGfEFCP6qmcODJ3mg9KYnlZlq9jjsXqN+KOInckaQ4o9jf1N3NWfaaKrZ+FM1RTIbAA+YW2eA9hh5vTr2lLudLoY2LiKlbs5Wi6nctfWvD5A6TeqiQ1/cV+ANsZ6/owY3udV30Phsk39LjXvTsbfG1y+Wld8FAPyy1Q4lp528GP8O1OdJAqTvYblEhgQaLjlhj6yfy/nJ0X0vc9QWyjMQJLY5sxBieFwuDWFZILyzsgRbhvA6D9tvGHESL/4O2mLLIc3Z3ZZ4r/lv7BHOjcc6GGUjTx7fpH67eJPGMh6bDnzLbG2Sgo/witSdcOY7SbZSqG+hRsidTHM2u9By9XRTw0n61WQShJ+RJcKRVWjD/htIba2xyK+W+wgIWjhiDqzLTg82K9LjVL63fL7KcNxJ30qY9YTWs9hktWyed1M3Jl7WPLviNJVbSZysAfQR5UEd7k/GamA2BwENAA0o3BxKzAL2iLRnAJBb9iOqn4ipLqpUkDRptyn2QE7Zzs8Pw3ds8Sbyv6OBDmNTWrmVQunLISGEp3Kyx49pcNcrBnvV4Z2m0iBsEAxJq3w2tKGvWcKwVTRTGxlmAS9Gj/q+HDrU+7ZIB/3iXiDd7kQhhKVkVGEuEfpnVExRqd4LWKIFyDLn83fTYmC9V56dMYDHXX7I8Kjb7VRXJwD2Ak95Fa+CZEynwjLXX2OloxSTDFMO7mtsxQCyQvn0EfuNvcOcpbDqD9lEKTTpRaJyM2MkaOiMxZXhhpcIlbS+R4aUv5XAMzbDEu1qKRXKfFMKa33mmJ6kGr4C43qGY6AMjmUgNO9dH5aYFoYWNCivfPNYi0qCtC57EIdkMA+sJb96jQyFItYvIA2u/2pri8ZI+LlK5cDH9fMFUAm8rn3SqTDvZunic3I3xKaO57u1A5qxkefC0F5MuGgZfhVe33qrQ81r9GksrSFV5TKTAc9s/9h9WuACzzE8XfRAb/WmOgAxmj/x8LtBynJPnFjfM+fkw4JnIt+s7M7rxD/gYQxGyTL8r/hn3cv1WX6Rhy42nxlglsc5whjhOvhLGHy/cAe/ShLhua2HygfrAjNJPuUqeXGi/C1nFkr5TG5sraqmE94ibe6YxECfK07BXySYy+Clqdr3MPk1I0lxILwvaVFc5O3mwe5InOvQQ+cbamz+AOU5Vh4fdIv3gpryBZXU2gUPILSgf+VP1INHeS1kKOb+Zl0ha+Bc+Vm1DXt0EMRB7xsmSmLZNKJLKGg0FHDm0vu9lAoQchZ8XvcoikO+e1G1JZyfa4WjhNaluVac30VNwLbA3zuEp4yxMVgyrTfL4hAint3/IvswQiVZwVx86/ipriKmtH1HfiDjAz6Oc4b7ijApE52HQASse9rpwDOBauauFSyPdaH1mD/Lsz4HatKmp0PyWG0KG/r36Gh3+x62U9UX3b/tJCWvNCFyNTr2TnlbaKPX1iMe2pL4QjrlyapWz79iTuyAo8EDu2c3wO6ar18WZwpuPya3FIndP8vZ4Ph2Ij12mDVZLj+L95ygIfW16+EmXSbSwG/Aiq6VlEkgzGEiVM71AonmQRclJu+FKd/BYBGfomadsJjfzXQVLcL/VaoErvDRAzLF+qv3Ubf5tWYjmRFiohKvKyfkmT8Nhx+mePbLIAw1Sso9Zqh+0xvQXSLDAYmSblo+3lCHQQmANTUBkdwCqqe5AH5wPS4TGT79pOrIWE57IaXrbjOVOYlrcXWxtFZXGeAUCKOO12eKbUrN7vKs6pYX/abJs3FY1v5WRW5JI66pErl1scAvuqAA6+Dv+vA/gXqjVPMnH3tEzesQRrOzBaCG7hE/iKOYOOKpciGDlu4GT9LBFIxqtoxRAs6iaYxWL3SSbToUc285C8krkPkfuza7ix6injPGE2mxT1NB3myaYLc4Hx9zDuttXWX9r2Y9BAg6Qjs2d63MDxluTuhvKGmQ4Aw+b3uEsGaB0chZBctKBYZsgqyT5gvokK7l3CgNlKCm6lOnhaqm7LJmSG0MMSp4tWlvfl+oA4+aa/qrQOjszgnQVDqz5TTvC8U71KmK5dcpbeUVq2ZzQVqaMW50HrsNnc3tkx1UfWJbs0TkBejfk5KEZ41Ror59SikUP7I1CE/SQM70C7Hd0t59MfmkirSKhxBUy6of2oqaVxvmOZtXaQxOJuYaX1yDi4xednGzjpuH3s3iXqbVgISn9qP7O3zMNg7BF6kMehRqYSv3PjOBtWw9+MzutDwrZ3JEFpL+wpHo+xstmLncPChNJt+ZdpHGQyNTMyyXjPQnO2q68TFa450Vyy69FUkErmA+OiDtUcoPM9REhilI47n5ec7uzDaJTUC/uAQmuLobdsvVwGJbLucQ3we948xkYgccBUAhCrGKkYH5bjXQbybRQ8ZbCY8C2JpMoVDWcVuWR3Bjl035RnhgmXm9uQAVbtopJr2RtpNFEkUwjBp6oZkhqjWbYL3vmSME/NUU/82LhvRFwLgu/rgqzS62jjq/JheVc1arNGsyTRTCR1D92XklsgIC/JyjsVfdmK176an5Y+nDCWOjap+iyvZMRbIIrw18Bie1jPXcHyGvH4ftaMGAuXh5c4TppKzUGkTr2PI/HuAvY4tXEu2Nd6M2H7gVo98bhXU3bSdBZTuL53JuKYPWme6MCzH0fcDePrDooIW7AqSxjomYjL0zFCWspmgnZCtNKjSOoErSirBetvO8P/g0Im8PMXFR2liMThWIM1v8+DpuJ4WYEKWpHuk62+O48Bzncji9UJxaCq85lVl01ktokd7q8ttK8dzru3lPtrGYuYm2bBknrvZ/h8pF4hLo8Yr89JnAlC7MY/xRUp+4CgclwGZ+vZznu6bdxgMm5KOSLGtL6nCJsBhbXVy4ckRz6kCMv4mY3eWc68CNlwFIIP81HTOWNrvzxzZPr41vx0J8wh75YntK+dxeVoqhGtWIvjJJOmbjDxd2wdQJbEiuMBKml5vu/EiefryWkh8GLXTuzu3BNBVFVutw4xGulbzoM/WN9zPB1zIRM8E1JZFx47kcFhnxzRMGSBs6KIdIne0UTbqKV8pwvHwRUItPXT8+eAr5/nCWRbGMUIo84EdTQPtzhDMAaXJsGf4GiuuFqYJ1YTca+YEPxN5h0JDLV8yuYsJSAeL604j6ZDGVZ0U72tYgaBBPQv1I4Vc9SZvqj4HypLDsRI/ttMur/IIykjTpgzWvso4Ad+aK6+o3Qu069YZE598Tqg5/MqHrWpsTQd6VTdE07GFV/U1frWPQwpUiN06979P0PlzBmlza32Ql07bCPJ9bDnKlnRCLr3tw+lSI5ojuFm4oioJtwLtgQYGxZD/fX/hik/DFe/5B1XmW0l2urL4Y4PD3rKUyaCnlw0Xz5M8hfpNYJir19TQZhYUKIH/jxzweL2i01OTD4sXbiVhTCtZ4ava9TJHIePIOiLiWQsKwQU/Cpu0tahxNaInwRk9Wcbl1ekoO+wyHNg8l7pKmaYR96MvzvC7awU1PhscbQrxi6pgg4du3S7ImVnF07b0HCxF5ZdYgCP5S50K9NHxBaFMBhpuSlmyt9+QtxGltnM3MdlPZV95vEdpT0lyf5/VFJ+GMyIaCnpTeS0/qZBGEKKoOCswZ6vuVdf+YGIM7Zpcti1idtDnciOdS0kMVEcRRnNaZn7nIRHWqnCZs/tEjRH8bkZGXlyn7YYL9W1du+1JkK9Q36Cfwv9251NhKjLlBat2G6DumPrWqf2/H9J2CvC3P+VbdDxGfTRzpogGmi6sS14bRl9ZJboM4xmiZ7+RcSb7oqEFP7nTztP8dDNRw5M/SR/nHiZ6BF89HNpKHhxtGkk2yKhBWTb24cdCW7H5lTvXndnGy2XCrCsvRDNsl84p9wkHEBJ4VO//uIyMnl+MQ3byOlalFiec570rc4o61OznJzyafBqy+lvhobauDp9SRWvaNSLRPl6em1Jv6oBsWHVbM8hH/Xqk+0yLslMEj54VKD0oRmQvmb4EouOTOexsxiXe/XzeEET0ywcmHHA/HKhR2t2b+DZc0ioBpQ3fE5ZPuiIUsMDQsNrwf1quep0vU6qymICL0TiL6ScKnS6KFr/8eHHfyuW5lQpZA59cE0QYi4ukb2svM/r/kL2ZIomvwJ2MMs8yYn6oGpirSPlLhcpGZ/8b/VhWK01JNxahn0YuWl7LeJr9bQPeD/wxbAsE9BvFgJYKRFMyOLNrPEQ51slq8PvR5In6gWOuWELhySktarQLWuj3HKprbpLtRDVCFYoiBVg2Q8U9oZZhPnGJjXCtwXNjEiy6vqFLxxEnAOZtwk3QLNWqa9EOZygf6YipeJDxJIxxceEpdVJYnKD9CEqUbFthpadNmzVmffbkXWHKt51pUByrlgop8s/D0mbE5Zd50jnTgu/kFEn36SKcKGkQLHbv7WxmhQOlDONiz5Giq/nErNr7SuW0CbuxyRAxPve8Vktovjq8DLgPAT6JNnlXsiTAM8pVmexCZqqImMkF+QsWSIulQUm/zfwT80XwodTZHOfPSXmU3NOieTkLcSAheqBOds8MzRlx1FVmyuIExh6wiXqC/Ne/7AsYvYN04pXf27Sj1wJZ+IdrLSn2/p6NQYcP7smTgHGIYbMCQNLHA/JKbIhHB0n8EWAcBG68yTAzWnpHd9qUQCaTib1wq46BG5Ef2rsl/eGmRplDRS4nKOZkzDfOKpCzP51pkCCMEMoUSiVzcmM9zG5BCk++97K1HvDqEW4jTU2diSPDVH46gHb7kDHFCM8/qL5LNxiPDHGUsxvyJosoirCR2qqN1LfHkGP5JLFqFG8sAKRdB2toOfaljuccwQwANACUaSb08d8p5xPi0jkGunFolH87y3HpsAWEO+BVghszyig4cDNs5g2R2q63ikab1xWZ3Jh4yf4XxCHaOKv+KS1euJv2KgBih1+b4d2cjLcceZqGrsbjEbedxF4chTEDKZqpQzF+I+GX0eoFfNkitxgT0gcSlCmZsmL9zYfrhOtIpPUIHU+mW73QpTcKLwbi0V4pEYsO9r1/SuvuYWghvDEZ+PKIwxBbg1fI30dUK4C//FsgpetWWh+dBOtiIk5GvuczwQ8lev28HAfRDaRJriwsoJmluWQ57+lf1XnFU5CT01ABXmZ5MI5NSYg1TgwknnsX+lUIfxzXJDN+0OwgykEdSZ5yJmdmw9ZR1DASj1VxqV8dtsRd02p3mmeuDn4rdQtSTJCpiTBT30lUMWLpt8VTpcm0+BftsjyAOBoKGnRDahL77I2DyjtHejXApphhH54MB3NhzrCgilRv/4/qRTRx7aVW8oSMnVlPE5LVJxlE3Xi0KmsABjEHrLOnO+kvpEjqSk05Xgfby0nxiCMFGvXrujEJf8jdimZDiBtKlXlD2fkOVVwSKj/a7C936a7Z4J/iz5GL5NUzYnwA612uwptL7IC05PhPqfwIgVv1hmzDEAPwOs/wbgnEr0fCrBBFstvabKz/IgLtnw7e/rsrFjV8jPpj5QInf6E98cRhhnkbHAm6CrEwWvpEmeXJThAncHyNafUhMES1bXvvRxg5zyVvYrwWXhI7UFIKttEQNV9BK5+rSG75jZdnkHcth2u+UjaDtxac4eG6I2sBRP0xhne7NSFcOzUKuj/jNItwfphpRtiKvGWWKIS05bc1nIDxehAAS9ywYK311OwEe1PcPH/VuGkfn+C9/DzNPrt9hkxGYWy+YAPmRQb+dw+uy7bUmZtkF/YdWNBtjotQH6fKkIBahlyjjOnc7vEj+Te4qWG/FbbbXZ+HogTgOP8w0n8kaxfzN7jbfFp8jAAeKy4VWF7LGfrdFdYnLfeSGORaDXbilh7f6vSYOKusYgiloRX95UxJ8EtER/HEmEmU6tbqRr852+QRhk6CU7g1OudFj9oDVDLLDW71Rx7G/NWzIKper5HxdK/Y/mjnngtWDlrbTciNlfR7qqm4KPvxexZ2YtnhHmTIpEu8r+TpCnhqnwsxf3OIMJEdVjRgSnAZ3bcd4FSHXRCilApKIHwmgq5+MyLz2bJ4FAhayFVmPAyDrYDYWVhC5NYXuLn3/c+ru7dcriTh4s0eHVkK1DQ026Ua4M2KWRln6p2iL/dknd8GYU0xZzph7lMBd5XExg8AUfap3wKxXXXBZGsKUA7Q8uZfWWxkYofKhiFITpyXgnkzYkdy3WfbFp57AT6VMefr+7P6BkzEeW3dVauE7DsazVwaoK9IuVHZsRi4csAHRMe8O9pjjI6ichGw2u3a8iZVh26sVu64MaNQuoefgdnqAHY9jqHGRK7qOhphYszynvJdfv/5KQYSRiEh2R/3sZL2cxfv8n8Fm/nZNcpMFbzByhNmTfbkMRGlV8xQr+BlhkDCyRpI2QUXwfQuLQUl/N8NCQjBMC+crvOr0NhER2R+b9/VgCpAmLl5npNfvIfwb8V6l6fZY/vLMvVYzK0LH1uUbB2/SDShkb4Yxt31pA1jNMHvdIaqRHarylOz8+5QGIM0LYaOH3PrEzflB634ejFXMnGHzxacx9aW92QO94nnV/R3MB5w6wQZXpV/z3d7YPmgoVOV6ey72I4VKaAXuT5XDANmynJMbO5lpEiBlsh6yIO/6XoODgB/y7EQ+2bN08c3YQ+cx1NR5bGskePFGA+bRavDgoX8MaTNsHj2bHG+s85B7OgV377hTmAKVByV4c9IWxoh5pEVZIVbCcXaqRJrVkjd1XDGvtpzkE4hr8ggJ/GEQyqgeblPzy9K4oX6OwJ3TlOE096rLKIrTgWsJ1K4m8Fbm5AoLy3sslFe3c/Sh18qm0kv8WMZxzGNmyOb5YeJvQAcONQ1dMpxGP5pj+tRxoibvgpJ36/pVtJV5gRcPXS7KIi5g5rHUKe7ejQHqqYfVid3GaLq45ka/NrFR2IPH5dexjRUZ2yk30FMhz48HKab5XxudczCodc3uTRV7lLf0V4T+M9MB7RKkifhD3oDRjzIouAsjXNHrF00hPUjD+U2Z3+VDwkr1/GSW8V/jGd/5kekvNP7gqnBMniknOxgrHt6NsUnDeXcZr+YfuUrzyhlFsJVT+o/ZgjmYf7Ks9cwtFuFzaTpLjFHicSZMsfahp4U9N1wjUWZZDnvy+emvGxTo41CO5msbKFsHvlE2X0VguMKzPWKMH7D02PXeE5EK+PNJgk0An7LldjT2QAeKOAQoxXS2E0xkTyDNhlHAFZV/m6Z78SREAOTh5vYfFWPoj4AxYjgsswCWkUgTzZzD2lDgUHhbt16feYzaMEmMAYUzNlJmgLa032BvR4WFBfFLOu6jmMLzAUYY5xmnyu1zyxLvzoBB6PLy/IAK+1w+I5/aRR681ITEXaeatUGcvSX+3sTf6nviHDKTxOV4Ygw6vM6xrig/HaLD0Eos4mGwcPRCpL3/CovKGrfC1AFVpZLeDJ0lJzflkOdMhzmfe6s23fdhS1+L/aKygWcDD+2PYg7B87WN23Y38m/hXCfNPCUg5xrbQsaAloNuN82QtCBGCoBZSWt4eVyRm/Ifx+JLO4sOU83mq27Aj8ekxzeL7Lb+7xnB+bJ/EbGZmPvZSdtDFAmb8/QNy0mF/YRTESG2qLvHMW06sblnvJYWL2q3ge+3gUM5TgsffMoUU/csPsye6N7q9I/gVPzoS3bG3tdbcvR9TtmlJxJsbZ5FAsYssz7g9GtJYQY+zOrp5IfH2MiCej78WcaAiGVPTexwbGxyvQIR+3K96cN4OGVHY5P/TrM17R4ReIMAB2xPspHkVS/WWJoFuRcj9NsRnlSuIckoew96Npf+L5GeKgo+0yNgJnLZLWS6SObfNTKmEwGr+tJbVxq2Epi6FM3H/ZnRlCoQ+f+boRCRKzY+BMPp7R8uJ7QXktO53f8n5NehhoRGYBoEx3bQmQaGmoj/VZiFbzWFXUfelvAFWKs0S4qGUmdyhGd37L/SY65BMrGRSWE66hZtOLdBQfZWJ13mAcsObD/wV/7BiOyVVDhoZjcUbRp1ADQaNyvzUgdwtfi8XhXdimDR7biM7UofRv82ceVvJEEl796r+CEK8vmAsJys35TBwlrq/NyegbZN1gBlSalEdi10gzkZpvi1PltjqyDB54iSK5yKn+jV/AbzfEsD9ogxPj2BXo7hQDTA6DfY0fPiySvh6LAPPjwfpYZA0mLp5zV/JzC3DPDK079FyAZxck6l65dmaIYRMHuzg64+cpBU/tVc8BNP10GREfaxwWlx6qH+fpynqIW0h5S5wXrlVLuzHPB2ZbMCDAqtgkwgWUoLe1hZ+yMFwjjSUKPVHAZ5lbeGvtoSdeT5Srythdjx0yHdoMticN/XpoAkFeO2UREK2/uaV9cD2TBngjpmOgOHRwUCjfWUfaZ/QpX+YTj1C5xdbVa8RXVRFqchD5T3mKQx/i0Y5CGbQVBcpjYFz/IhcmCrepjvPN989UZ6+qY2m7FDUsO+/gw5iUVG+6zGcdgI5yEYJl2+MnNy+7tO01bol6Et61XNToyQ2TvGOp0PC3gBXfajr5CXufUgy4Vf9RfS9rr8HkKstOjTwmDy+YBmUkLqs/VdsxPkVMqUz5cdFm/Dyvmv3XkZB+j/8oetXW//kidzFHIjHS2PoFWnVkr07rFeDPG8Pj9y7ZUc8Q2DzDEdq1jt1apkhOcH98qDexKL97QBBPySibCRjJcCqzi/FSFVXL53vVs3EqX5qc8mYE8owjehAv0vsACGT7rVsR4QnvOd6Gjg3Y/wNoNbDhk5+/PL4FOtVXDG20jd2UGSozU/8p1nS25vxV+d3gCZcgDisXDhy8wLeKf2Agla8yF7ImSweOB66usX5tbIbtelA9ycIqUOVYCCKRlHQgj1mKb0esu0SIgs4ZEZZN2rujUcmExjTWIaM8IuaNmOxVi7gThyVGG2yobjwnryaJ3vb8UCCRQlId7smDco3hidDy6L00Syd1SydWNzGI00Axh/ItUS1TIjcm1tckkdSwoHMEk5x+r8OED4Vb14RA/kxYHCwD9SvPPgvpn/YFP8gv8ZX+GFyyDUHMQwtIeeSJantNXCG3GPhrjDppYQbYp+MjRomwzkP0CS1Boz2SIG+8kw2v7Ftkt2SYo2MEHL2BJXkwMDbMgDgSug/JmjT4bbIEWnHKDY94DSkM7ShMTigtdizH++t8JaSW40APcBISDP2cwcWEKSlgWycmAYrpQ9wEMUfoxi4/NZATmv/rqNrkT7PRPcBPrHXTRkdDwuwoNXdB0DBPniU6C5xvHA2JRNPvKmD6rqqJKRxD6Wb5jO0PPUTQdx70FQqS1eCibRJ+7dgYg1OAqH72iNWBwfXVnlH9ZRsshnVczZy5f8/iPKCJtz6XkgKZ1NWl3PJB5Dp2heuurLm8OhsiCf74VXqqJlwRLdwJfdk8PXZOr7OLP5+kK3xrBATAeXCmime5RbH33QTeWMcWvkXAu86z6VsM+qSVb4ve/Wgcvv6Rv+tS1Fc1xdBhBimvy9vV0x11BDqoKNNorcWyQz2DdotWUDX/lDRYusFFhS/5d2ahdzFBcTJGZcgeePRqn+D4v13p6XaQ990Ykb0lHZWjIoPnh+NQtXbWT/MtSpbMsI6jo2qJkIrb0t+qlTh+sOklNuYVNo8PFJU1DREgWJdLhYY4LV5hCOnguE8MbiAmP67ajNhiy6UPk3cCVhmqBj2s+143668PkMfp8ytVR+EYPLFLg6D4xCYhYN9LGJZIwy7ONEf8O1kqhuobIWsedUN2ceHl0dP649pGN9SlMp3kEOz8+CSvJrH+xG6KNxjU7ueXOyndzsQj22811yxVtVEFjszamdNExLKL1YNQlWlNhDpnvNO4wLmX8Lg8U3KGituZd8U/Hlg464lgMJQCn72WELWIZk0mm9rGGd6mVaSKVrdVQ5mbgo1pdRY12rxhNXY4m3PHPezxvKmHQei/nOy0drzKDY0gKla7Kaddl0MTblAJpTZeTffsahnPQ/8+PAa7sADuRGfq/0/Qq2toXHdLUTv3n3PxH+P9iXTQmmdKDZQ6QZkO4pUsvzdgCpdOqBT3U1ry/JqhQpGhCz+ysHrK+W037GyI92MFPgQs9eLr+IaGTNEJ3TAUlLyEfhc58NUtLMuYeUyZYkTVCjzjT+GwOO/+uss/NoEzjaYCzBZUN/8DpqoiXfsJxBCewwTVTzxM5sJFJJDOkqkw+dwvgyDl9u9fR67EgFNvUfbS+y6JjwzJY7nf/XwyD6oqVTQuZac956pmfj2NUXjy0WB/OPdZxp21MGDFw7FQHBxkvAEx9HS7BnM9c9zYlEWQflw/1iXW1c9uIcEnd1/fdblct7xai5BOZo2FX5gbRtBmwUgh2E4ziuQ9es37CaBuaSB7zmMgqOcONVjT14WtpzPCAhxO2oZIJUV/G0v6Yl+VKdjhxjSwcRFHS94uALZD9DtILnJ66jFKwUaxrlFBunvnVlkvg4LsN/pkBXO07fG/FHNEmjkEGDGNzwFWXkk5Gwm81EEfS6M8xfuUC7GcmsTOYhbw+5vUSUvuYWOfNH6CgiIHnRfUC3ZsB6gUhmFEBJ2nE1uZrAYp8QKsRudNUCgz1haK+3cqg8+WrI2hkyY/gsjkEGFfHb2PMbvqJZWliCB8r2D6HlhZwzQ9Zjw4rQT+IPm02vkOMpxFVIvHuoKTJZeoOYzeqXVn/6Vf2c5gaGGzHHtuGLKGe8izFmMn24XJYcN8/a9OV397D25dMDYWzFPriOdDosPPqJ22b6Q3tK4Srt8SUFfhFnzOBoJMKCFAu/DzAroERjrxxjKxWWHi54pNmA93Gw7MMCOIWkyXBNaBcxM283MykiJxYVQBM4uSOx+B0o7hY0mYOEFjKb/196qJq7rWCHgtDnIC1zXKlVVkc8ACRTnQZyC4vT+RP7rIESqbdSuoVUqAar4D8k9OjS9LC1ES94oe9KHDhuvs/L5AbVBQos1pfG8rK3qiqMogGP2BXtdhDCE5QsBzfNgmdNpgkIvJHoldEdUR5J/UUimfAlbiaA8aW1iXsNHQkwQqSq1K4a1XNfViEt1R34kpvhOf+i7seswFGmBn0r4WqHzqC+1CKAKJ7dNoSmqzITFaH2Efa8gntPjmQ+kNv96TMhdhBSf0FE6FaGSOJlUF0KRZCf5P26UlKJjx+vQ/BUZ6zOBvPR8us7RMb+F0en9Drowqgx2Va0kuYVZptrefWNvmEh+RSf9NtkUHheDKnAIHI5hiSj2cCXcCLCF727lyuOlpiKQXbLpVH45FgQOToxLYEvZSNuhbKs0IwAWBHMTe6zZQvNAWooI0vtLrBoOD+vMvbmkHGb9U6sEiLn1PM2AgmjHAcuaEUtkDKpC/vMNfRI20rD51+GDxmYuTZ6KKLJCGotKb0S7vad5pa8DEK6ZrlDGZnzHlVLfrafNG7x13NA9NtwPCLKq6tb2lReYLdCi2DBLtsCJNFdx2f7H+pN2UBeFqkMuJ8dclEJqI7mJYbdvWg+Y0XutfH7Mq21HESbTGNvTqVjuGGvxuT4ryGoTFQLXBAb46rsU2cK8ARJt2mh8RbnPdhM6/kw5vgSKQSdt0G8WkDr+RbXyOEap3f0muRioh+SJFROSzkQtAqf7Wcr2lw0naUoN4PkQGV0GxMD4wsTnI61BO9C7ZHMxz/GvNJl6RmCBrYIyQMA0zuvsf0fLWCWs3KvTcO3sBqPrcKR3RuPK0PEyzcfTkIIC9+TnjolNDK6g5fFWA2R3dTPcrYEzxk6lTvzeN79CLiEpk0MV8huzX6qdUGW+P3FNLX/8mf52bNTboHumGWvl3ukV9DDpbMrS292I9yUt07v9hFqOuIkzNJ6hro9n2YE2GcdMYRH3aWrA0255aCLHHEymC+lowiO65taYm3UsdXaT4zGT1IX1HJwgng3O0vV6eXpuQvW9cxFShKQIhLRFO/bmxR+5vg3UkDcnS1Phriue95SuUz/9ywgoiFiIvzCMY8vBUkgpHmAkPRJKdnbHNBKhzVtvM2ENCNKTpYBVEhG5y0jaEYpOwX7s+hi1T0hpUGbt1z1U2+9d+ST46cQSSNGOq8mrQksb31CjtXuweJWrgWnYOxi96iVt4JHBIg/TPdIIP7QPFX3WVquyvdnv/Cq6tWnd+qy8nhk8eoQelFLSo2r3e6yHLnMmFpeVBDVBRvt1kNkA5pCui6ReXKlAljVHIFX6WlRqkBNcEuBUKDeoxP87uR9K/i63X9s1qUElcEdRhr4v9cyItrJRjhTN0hlrrPtZX1hXr3ojYIGfpmzENiksrlYS/JqovRP0Mdl7vGK7A6cq9DZvPlMdFCti9sBZOx9DAaVKbt/0MNu6KWkksqXL5P8GuCa6mP29oqueJ5/qjCfkDXXycGhcChZVgk6+/x3/CNJa65SXh+kghIpUhe1Loc5IlL3elX06sMJXDAWt800YagiZbdYSRjcN1FGOkqvCHgznXFE2UiYTt0Q6uS5UdlHpB++3YC549g6omOkCYphMqxyZVr8gznULNmB4+UMZn8Eh9FXreFoK7kw1XIaeL/IV/lSxk6yEqTbI5hh3MJSm5+50i2BmebEGMNX2z++ntcu3zw4lQvZxEKNxkxSL3orctK/7++at+N8bgE94N6Ts/aFhYa9YmR3Vqy67Df1i7eJq809ZzvCUQyBEUrd8wnIuxxWPnBrQt5ywrrkDK0lIinBnTiovxKMuUqaY5FQ7OP4j0DTAQjTmZdkgR5MsafiogSohl+o1HtxFdm2gWsF+/LCwVnzMd3vau75XOUbnnXBT7dCC3/SjRObZGvYLPlVer19afYC7eZy5apFI0jXe9rmViQpe31v+bNwZjT3hHFfKQbgYeZlPRAwTneX3/A6rYqHdBNmd4AqqJ+Xl6uK3TSRZ/waCt2S4J0Lm/xtYcXMvUD5LXz2UK32i8ee971dm9kbyydUViCJpWQFmmsxDbnk2SKNGfG2A0IUPZWDK/fxu0DgogtjnhtOIAJgVB//lqG3B1xLWisvS8U6g70H3nZ7+Vp1wYM1H/Vjb6BjbG8aJ8xwrmu+2k0t/Cvj9RB7fH94ZUbosTEtj4s9iV6Ps89CUBD2/pZDyFfRWeTdNLQMiXGREdQvAsc3jyjOY+LsOn8tjEa0jno6/4L7C5u+4M0gvWHKn6WRwGcICalONGClUOFadsrtGV7bNamRmEmHUuqWOAGjkETfd7JHTFVAr8HBrMS39bkEYucob/qTPO6UcU1/DmHyMfIGZXXLUK2yFQzueKQJwTBERrRvneZxa253RWmD+81Zq7PNVoQZVDU7u8EQlHXsD53VVTAn2DHgQR/WIwwPPO4eBh6zQX40hV3AWBdxUMCH90V/nXErGLDyqimw9LKrM+uvaLBawgcTYQVrL+wqIcCBQ3RDs4MFEnmV9+4HFLcXHnzIG4SbtQG8ju9Aolvl/6xeEH7QevhNDRtYr7H1PnQbRcecU/mhH3pFF/X6botab1/NG1RvJt8CHND38ilh19MLMxuoIVRBftq45CSrC+YRAiuWJXO9rPaBWnWycLftVDKUp7MaO6CiLKhmfQzAEViNqxmHpUawyf9GuOjUO6QdRvF4No9JI3mkyVYNlV3/eJayQkCqsHLN6tTWPGL08usW4slWFexVJxPTPZLJB629zmGTOR/TqRUZs9lRQhZwiDyYGwN9Y5GJCPO2VmQpNyDztT+cSmyXOZgilT1rKc74U0+lQqCvuVF9m2Ayph2c48pmpJkxb3ZHZP56t/5dug8WBCE7Oa2paLELWAVbtmVVwktkAtEg6eluLLt0RXZSY9+gP5HpOHbgJkeT4hZIPWnuR5ZluPr6B0ttVuu1s0HKe5EjOTOmMYYabLPdkSw8GT2EMcd9+mVSwcadjySJXfdwa1neICCgYw33CRBowopRH6wR77cqXxQjgXujtzznBh7KrLP3yBKJLcBilw4U8YpPboKyQY3soGuM3b4yuXwK7IYFE2NmyT7eQWTTztT4B+RRIXT9UmLI0Kix2q0RteDT8BxjjPNFXJsrXEL7UvwE7VwTYztqEV3vhBugm0ali38sP+QMa1zljsIWJi2Y+dZ1hrgQXQ+IPhQh2X/13d7IR65w+/dWbIvgdgWT21fPILWL2Ur/2+PRraYJSARcdH0BhZNt2plJ6n18dzJTiDFWFY7RYtY1WgUKfZE20vZIwSBKHPamGL9SxBXMa8Vjf19Icx0xWGy8uSyLufxKjaBpPPtyTs8q1E/ZvEJjfaWFTLFwKQ5bjHTZLjq06qkUqEN3oVD/tRtHztqpuJQiEwvu7XDSws5XKbmVD7LaCpfO8wit+UoVS558NhVqJm5gA3ssVhH1iIiYL/JP+StJaO3MlBKOdgNAn2kINEyI6Q2nCtjF6GkVhluelEV524m12w2lql7iD4bFi7xaFHw1+eASihDDEqO3ccQ6/yTl3YXk3h1hT5Txh97syEfKMAjSEkjjXFEg/N/x/xPI+rqZt13w0wByDUMosyQq4Uj45RbkYUg1klgzC/rOp6IwQjoJEJhJB8t0hn82sU1OwouNixqDQW6KV+LOrPkP6oNOxwHqJ8bETmoYWTkp/3T2VjICCK28yq5cuNMv41C1sk3Jz5jKOlxIFwyneIwn39IDT8Vx8geqvi+/szoFFlu5vAgYtf8BP/Ilca1pn5YxYzqW7zTpPCQLzcwDGCrV7SvCjsubkul37QpiFdX87tfqtezoshiZPblsOYl8Z3AGWC3S2650sJ5J5JAGEOKp6+mLnBmPgCfGFRWoP2J2eNnDf95hgTY8mVOSE3bmxzGZbVT33xxxtq4wsJ+jLr20jUZmtG9mY5rq4Bg+LdlqDEAvgo/+Z3axN8jL4ySPOQAudV2ww+QExB/6/Bhzh0GYNi15zcU3TzZNoOfOBBIY3wU1zvl2PhdBG97+H8fbZTXR8F8E4BPIJ9EyniroUeuL7rSR8oc0/pGyoU54Pdo1s8WPUtm+t5QLk9AJCt3goBEgT1AT5OdXFGztNfcz8zsO8wBUGWhytdSwKri38qJNjYgQjx5DGktu5omG92xHL+VDWidYDE8s2YSOFsvN4wa9BpTo9sOw6MynxnlgtHwOiueawNWHBtgiKF3OE+AAPWM57VQrivcSz3qbOrTu4m2A3BCPmy4U1gultSzoXJO/SBjhrdZIgk9cuuapiolqXGdCDmY1kK2H6m7lRrotjNmpM24AHUeZUup4ffaSMdRXrsHav/HQ+Y22U8rgI79PwxFgLtxlFqt9qXepDfm7TZU5JSXnuaXR+ADpjjXDAGu0W+TqJtgD6N0B0M1VSxZ5dHA5US3R3VSE9AUEfE+8xX1Cs8qR0v3d4yTctu1fn3ACE9/ISVaQ/srBxAae8BKIoMu4X0x8dI43kidmOTz0kjE7cvo/DRRZ5gXUHMMND+4bXEt2PHFpvd+/g7ZwAPyxMz5WfUgrtGoPwNZ3TV3lKoy21iJseRwPA14P0zVNDJwObOu6nnz3g/dSRSriyfG5hz3O09+/UcaQ0yYBl+zdsyyagwCEfTFxMiS5tExu5YWLX2mW3uuvMgGBXas/iWSD/cf3TnFtt7BRCcTsNI8ZME/jYHNyGtXHxGJzkOKKAa6bQj3JINQZwe5To8q8Lj2a/tpJ3I/NUsokIrOXUmTribpAkA/dTrLT8kXGDSIE1csQ1mAHqCPt9jLoWkTf8lZPNM4Vfu5+uQprYjMHJXES962F1wXF/0UTP5Uu5Q96P3K/tdKpC2jIeFhQI7xZ+XxQMDcpeFgqZnKet/rDcSrpqXZSE3KVuOKkHeD7OsZJ7rakqry6vefGduQ82osvuuUIH9V0BqMIG6XvsdHwIXK1ChM/3Pe9dcKzAtqvY+5RofKQeOf6djnqBeCmrYonoAmOFzg3caj4xVhqRsRvW947aDJ4QCtfYwnLNNRjn1eVsUcV2vd8t+xLnF6vZHu+q7yvP/Fb4n1F79CktvuWB7cVyzh4K2U0LPP51cxO6BJ7cqMhMWg5nUrK0dmv5z320cjv4i69/jG2PGCOupoxJuPJfs8EYuppDQ5uVcoT9JQbLGG0AClO3vpfIVE3jPysFzWfBSgMO00QqzjkKUh2nOJEIZ2QGke0EmyPLmNuJ78w5+5ibyNet6AsJv6Tq3HhPky0TNtXpiIn6NpMhAvertAsEzUwUpbTYQmmR0KWWvB6nLo5tomn3ywopW29WL7EHh98EVWb+mAKId3Ai1OgoyMjlN2W5KPyfifBqu1reQWdSv8IzpKJhBy97/9JqlGPcWvMSbkHxFvon2G8FiStqGUG33MlRWy6ig2MCrH9O5V+JktinhAAorOYelOzFYheFJqeL9hCZdVHRaVm6HosEzfDUtiTJ1cTj3MyWc7M1ZcjUCBSfhjFVdJrinvFaIvtLUGZqeaKL7ArewemFnJbWZ8D62g+e3MXz5QNOM4qdjq5V/WgvPDQVdP862gKT5ysWZ40puHad0Y9YlybeYSkYuV7DNpwDJ35taszeVTZkdb1EhmGjQWtrSMzxPnJ9NuRXsXaV3BdoP/n/QjmN+mdZEkFJUdHqKMC3Lx+3RGS5g3gri4Rk4ZocjUtCuF/wUWliOs6nkB2jgPAgzWRnrnm6AyCkgBYKYyCz9DslJkjktHovzQCW918oI14h5JjkaWAxLv2a0rctmKkDGIhN8ulo/aYdijqyovSVsw5gjFcb8/fWT3QrxCgVEgjVgVWob0Aq29amEDgh8BMFjl5P8lY929XLJwAIbiYqrHoOD7w45ohZukVOdedJqQ4S5+TlwR6voREuUnYSOrg73G02+924bk7krx2PxBF2vY64WELafFzMQYYjlY2IDiBtDrBJSyDwhyk1H2lfqFC+FV8/SKTyOVHR0O3jXVeYiZH38YChV+uvntqtx0tn49u76hAOrsV8FJNUzvPNdomSINbW5LAwp7TUMcAJF2nLqXrkpWtW1Ku2DLPN9zOYj2jNRER8rUpoyTen7Q9G/REMZkoSUF54JKdEhxnLB95pmXLGioBWv1fs15iiWhihBlNGxnePojCOr9AtBFzh+sk89HwH0Y3kFRMKguXrlZourEYzBN5VymQmf+ggou0tDYTrbnyjkPMgP9MH5AxU5gQvEeaSeN8/3czblXoIuDbU+d6gHxmw+wR4s9RAx/7kO2ardoYBRepnhSzTCT/35L0UcSN9yE5vg1vc1FIN40PV9zLXCMmxUUZl8d28fQiGe1fQSz0rNaaaiReaAkaxUfw9LWsmULSSQC4nIg0RyGRxZSx17kYcQxLQJPt8Qc8IT9qpSGpcSsYCvR7dMxrCKUKXQyEXqTL/9l5cQ17CoG4gGJ8AlEP08lnyLeQHYZrvJ6wQ9HXu0JpWIoXU9/3glUgFLObsO9wdEbSzPcNvkURVJf5kLP4boq9uyjAc36vAm4xfHKqx2NWTmqJHv7XHnnw5EMyPzw4iarKqPe1WOZ+V64hqywQbo2oPUp8T96VNm9C8ihu3ms/KgJDBbHqueG4i5ix47r2B2TM+riU7VyrJqbGXF77kUWcytyHEjb38tDEuocgYCTg9C/rf2pPrYMZempdaPkb5boFypUeaX9Wj9XzuCixlKyrk5i5VyxqR0evnu3HgkFTYhwmUjxBluGI86jq8rr3FzYkp30NVivNEsHGFIZcVjiIR33FJf4vi5ZW4qmWcaUQUzis9Ya2ZqKO9EFR4635N0FJRgtYFdltJRowyOq4zCkx+R0F8QYaOVCDXxZAu3hg8RKHPhVE1/3fGVmrXwQTn3kaa84UMz4918uAVmO5/Uc3aiwKMNwPclm3Wxkas5zQ6xtwlRcaeOlaeupjWmHdFQUrh7MyCvaQGYW+mn97MU9GAIF9S8VOT4ory+TWyLe4tr+Io+haye1k+ZriwtrkpI/pZZWp7E2Dh+CXCiKLL/m14+JdNv2y+G9RyP/U1dGb2/V+LMfpqxif4Z8Zo9FpfOFCMB7CDXOBx65IgV5xSkPGHMZZGFrdl2kgRHT5p692n9rZeJf3VOxLEYSAamvlCAPgeSy1wkydSAJ0uZRTgNknOjfQHn8Kbq1a9ng7pwkA00bwNJao463Sd64g0e6JiRiNn+F8Dyl08u6V9g4uFARcLuyJcIcZLpMFPdqK0wW8qHV07JbODOnJ4fcW5iYCYhgITiKdmsRRqxKcu7fWzlgoxvoN4GWOkisSrc3RykELmJN/0rTpLJI46XWS561rzFebGofjbZ3GrLeH9PjIIAQ0wvB7Smg7l9fXM9Zha8AL2arqrYWngr7DyuNl5vu56xtjfvaOQ3Nlh/Tgyt5wXwiV8wkd6O5/eTC5y763HK4L7VgQY7cnhVUrtjaONUKLt95j3EYT3N2Zz1iuFB5ZtVJKn2FNtetVpYiXdOl9qUZGXl/SPEQkplxeDW6G1sbwmHsknNiunlThUD0QdPh4o0ATQSbmC2v7alP/hGMID9z2lyz64ZjE23h5acMb2UHzeshTHoEMkqANfQvsKjKHXZRLoWogUmPzyUapTIHPHloRJB8jyw7lU/18xF53zM7/zNmFJ791APOXkatz1uwoO7FTFJt+hWf6AqTO3m1KfnsFM9sVCoUOZ0eZk/r8yofcdRkPyTKw6GllaYnMI3fspILRyVGUeZwyUFax119iUz0iImxolsiRHv8avLyZyza/Zyn8TTD9BF3SKg/R6B4cAUV+20MfmYyNyNAxk6lbwa6ELHEC5Qiz4zwS1HdE+JD2rt09AZmm8KizQqSxq8YZHKQ6w+hOxZbILHPzFiDki4ksjQdYMGcFfn4cexd/GWVRAM+FtRMdUrdCGyA28R3atp3zOQY8bCMVYv4gwpLSJiYXtYyEzARv+S7vJdUPcyUUHADqYYPOoxSgM0GwM3/tmo/Ejqok8InU3uaTHWie87e6rlxRWy7sdGGD6Dr3c3Tq5jXiLqdW5WkhunWqvF1CFwkzsHfD1WQaIS1rEzP0449kA4nQIsWuYBdI5SqA0r90FLgyXHeGX1mVkmZR6y9L+DjxrM//uum3fLJbuV5gsOmUFe28/bRlDasF50WcovDGUKLowrC8OWlXa40PQ71xtu2/r45r/BAGSelpnNZh9Z15shwrqYtYM/NpOAbTaIPXK2CldLlQIkwAkr6btbDHP5GQ9guZ4RCL0I3xBiiS85aSppmqZDYLIOyVkA+QXS321sOi2K2gBGO0O38u/LV2Oagzdy1P7qCRXacFj3DZ9lgF39CBcfRiz9kc+4BLXZzHBT4dJoXcdswlyzPKEU5I964SLDCHEMhKnYQ53pW5DnawacONvRnTcywZUwpZ65R+myJc2JqNa8IqPoTM6D4+vqoWEsTP0Auz1Ar3tW8Pc7SQYwA4sZMDCmJDO4v1dJlBzCYD2r2XfReWrkGxCuUAiwcpHgjszrC5QHMbevaKkvNUh/PsBfYp2xJ/LSgvF8OtVuLB0DSlRwream1Maocw/MXWLKzlVZguVHWTfa8OLRRFCPWOSxRIAVvJFbqrvrr9aQzyAbplayfBHh/2O9GwjKgmkzyF0P9wMZ1ojOJE3/5evQOtO6RGZGtdUjfoDneV4axI1Wv/2zjCUWMfdusCVHMXMDhMos+opOzAxZR5//YGvFPEE9LkZYVWgAQauaZTCX6YBuY0oTtbSGUNI1+bBbPHGL8ufpy3W/yeiiGYohmFtTkaOR++9C3V6XGYsthnyywzplIJNwW2VlNlh/J4x3IT4gI8oMaY/gG83fzCCpNVoYlSVrwUzHQeB3YBN72VqYEbkniVRL7tK1PzmLZdvPPKb5A7WY/4gZNMOYRxItUXvchXKhcwMiZ6s7CWKiadRisQoqUCck4mPU4Uv6HQkyj/3KFWeyfbTD0A3Tc+Tois1NyuflabnkQYqAljiBmVdfx01skfwWVSh8k2cEZqWAAFP3w9i9/g31kRL5yApSWmIexNGIwQLfPG+ZO38TFfMWysq7lItEacw9Tio4Po8F5V5J71Ae5WkfBYANIri/ltoXc3Wmr+h8AmMqBcpgmoS3h7RodfGKMuR3tY4Mg2Dx1MYOAPvXbrQ98s2zPEq8nY59yUEhT5a3hq4EgQcaW+eitcE07q2k9OAt+VaS4Vw14xPjm60oFAkB6fMl6bDP8gZQGgNXwEFW3hzxNomarqxniYUZNW4SHKnNRDfnFweh2/4eIdSw/+5jGjo9VksF8Hln2A4WxUvNNk3anW4gHuxPOAPW28eLu5ie6+NQFx4e1R8+paghSDlK2KaSjx12Lisn8S5ut0kaP9i+KWpE38D0KcmWDMpvFPgava+x/5Ep/pRB10mb7fEr1SEV8OK9eHE7teM1Rw0sbNLkgQE8XPORFXhnkUnyFqRFZH/1ORJXkgtcQaY9oXQBCAiO1iR84SYNQRcdzh62IIvKb2eBsSILqQIfH4OQWibnFivTYoJKtASDgf7WTTqgkEQ/GHDBV3HIHvFI5bQxwtNesUtjAJas7l1g6sMCkBBq8/oTrDd+TfN5CcrWit5nfN7eY5boQM8wJEep6oVY9VfhuJ8IEd0VNmT8Am+di+nZc8V7aYbzSxEzRi0FvXqrVdUA6je1PcegOzUNT/OnM561PGtFkMUiph7osFlmH7RqkgmyhflcBdv86NYQrRhvuljyw4bw5/Tv/zWK6x2uxRhbmZ7YS0+iruWgmtiL3mOeuSmQIZKRzhdicGvszLooqKgbMJHX3st6Pa606tpPB7KOjf8JgWIHINxcUmea2oLW4DjP1OHpGWdJRjA98/SIEykz0C6vlCEKGMh78Ymb/tYlc6H+PITCG9yGUf7DJEOJDA5/ffzbbTPDDdGrli+urgz8f6oOBoSESkF+CpsssUWfL0Ck/vxSf8sZnkz+ORkV/xXDjkKdvLfaKpY94mVaGV5fVDF/jxDaqfxCR2Qbgk1x2azJFAQ5kA4vgCoaI66FTwFJ9RPeStt6+Zvc0JXXLQNAS+CYO5pnTWy89fKUW5cas/Pqc3v558cezjl+/uRoLea5ITesUl6mZ1Bsfqf/kevug+Y0ozhzvk0COxX6UOIsbKzJ7zHAWkC2jD95yN0BTvggVaOSXc0xGFtvNVohqOWrvlO9g+0c7R/ekFKLOrOqqSvttVKhFVSgnLnGh4ht/sgNHpFQZTd3ITm0yKMbwkutRSBvPsn3lXgiPxwhOCtFwiAE9ZiggHHHEtQDwAsSzQNgNgmmyfdkYFCD64Ufm7R7P4YazKjTlI9CcemGwkK4yBJQczN5LbBtY9P26UwfT4GXK6/W9OnMv/bICwgziCkpCeqi9vS8EuQxvC8Vs4Vavddq6n/xNXd1yA29BbkmAB6AzzJ21wuVJCucEwimfzclU4/hKOderxf2IoUPdd6lR18gI8PgK1uifVB6UjDDBS3Y7MNSErnqSFDE5O0+fzDGSU9xk/3s/KO0hkm/0kbRhZlLZAA2WiAmjCs7eOw3k3Uv4qEF3hyPBbMlp+o6e3okH6tQULoeX7P9d0PKblN4xuAuB1EYLxNMppXd9P9ujS77hVP+OAc66q06krWM7OL5dguCcIMfGLVYDTk3GWkPewg5EX4aKHg04MDL6uw/n+55C7IwfRdEhPesV68VwLMXbRjFtwQJn4o9uxBcN+07vmZm982Vzhj++AfTMxmCd2kIyOXk8LUI4cG5xJr2hxlIV4BS0RieAwUcYGwApTpShVrl8S29xXsAqru43Oj+kCK0ti1QYLnGH44CuCvxwNZ/k2hp2NsLnbVWSKpQ/IibujV0rNDh+aMozKCECer0w2PAeHbEc8KOJ7qj+JLKfLJFsJntbmerz0FXUlczE72cylxpVRlS1JKc18dvPvxc61lftXEA6ZdPv00QnXdgMsFDNxE0V6AdS6q2OXaFaK4sM9qnxa263uquY1Mev+dCIxqwYAsUrN7DXmXHplKdfzUp3zutdt5daBvGMOG0FCYy6x6QRQUwbhLXu5t7heN4BypU7j5lw/YHwr79v19wCqqBuQZ/XbFEa6UpAe4Wr8hsqLU0NkO5hlYjJ2CJkc/h3Qwd8s4Iym2wqn3zRXnXb/nMV57a3vTV87BMctKtk9mb7nax+DFSio1fS4eoOAe2wso0X9RQM/SnbmPGhwkQlRGrZyfVSOz0cE40OiHAcxIGCReOJAV8lEFeEx3u7Wxu4Qwi5rrfCjAqX5a0n8RRMkxtAU/UaWhddNrw/78jy2QhLVQvZ9Iu6XLXH6Kg5DMcrJH3EufDDK/En6DOSvRAPDN2wYBZwiwMo34rmZvDz8Lv12Yn7aSN7O2agjej08anR6mvxW7/6rbajUn0afbYWKpUbRXjlRPM7NMgbYmno/8ICq6gzbnoIC4Ps3nigDo4jHqy61/l5YcALJY9h0QevZs+vEFrIQ5opx7Es9ZNXfIy3AedT/R2YziVRIELFWpJticRJmnP4e3qBDNuVPw3CPScgPMwWEjL382f4VUndQcsVYD+Pr6oodJjsOXXCD5wZ4dECOK1XzCNIRHwn0FhNkvG2WMFSxmr2M2rdcJR7i47w74e1C7LHfqQbCdcbHxcI19yz6+pNedB0RdqtBFdmBtv55BuPIIS8s9Sgtq38Y2s5dWYpnSzsi1X7EUdliOV3qHUePDoBKXO06/M1YlMTzVTjEI9MP5TGL9NF9B8795XoUF0tUmNlGfSJS0b/ETQw67aoyK8iHbXL8djwPHdQQh+JSUpv4uJ+vc3idt4eCP9tYRqWV6WoMSqCtyU0fo/4JVug+fgl5MAaxZH5Hg2lHAZPeLGD7kR1lYxV5f92DUDc78LZoLfeNHxJBrtTHbkf85vvmH4PtoIXm0/PTK752BTd1lNeU7FR5qBW0zJyqLspULuPjixBYz9o6yI0+IWvbfRolOdPRP/cGTVYS9CqGea5cUOS1CPdbxXUB6YprFXbjn7Fh7lYfxRawrj6D7fyx9h9gxT4hT1//7pQfeoral9qF9kM6UUi0NS1TNrYat6/PVAEY0Dbd/tGRaBhWygiZmM3lYpiB8Qf2ZBPY5rYen8aXQrhKxWDpf+soZzfiXJ2MUAs/ivt6Kx3oapUS6bsPiwYzzsl5rlmuKFcZDKXgyJdqS67kwX7rgpDNvGrsr0dr1KXZZ9cuIN5X6t+l5n3oKqKWRm6ogkcAgp3kdANcL9+lN9RxWdLcfYFMtQ1lzFZ0Jg8BvW0ntsp+y/hjAyT+L2bxB+fHzUITf8Q2EiqYTlrwkbwBH7l1q3qjtHSrjTQUXQOXgHSbR2ErdYfhlOsF9VPyxw2INDgLUBO08oO1bbMlpy8KYtN3VmskejKBJzg7m52OOLqUbPMWwPBYVLj/VlHxxHL8oGHElaE3vf7JQqsGPsmQeKg8cNLQkclkoXyzqn0CRYk+VzmDUb4r+/lPIfJHhY4okU1XfiEE/kNS8U3g2yeuVRxqKPIZYvqb4sbtYtojLVIOt02CQ2yjjvkiW2QKcPU9+/XHa6Gf4Rn8mnoq8l31DJDZ5fF9t/9kXSlgkuojd70Ds53diLKKmbBQTFACYtk78VTOeA9DK7Pgc/dBayO/jjGjA0LOVzBffkEo9u1soHPtTgreZadXVk6prAujaexEmTdLIy71/RUNj3XlQcRoYePShtAvwmWSInTwY4lz/H7K7tA4oXIf0Mc6VCoOIsNVntSvUJBeIgJIWgo10Aho6ObOec+bKM2X1ZM5RFOMnTmg/wOOCz0wBmpWftMcWKb4KEp36RgLymBOEloKtcW5wlQ6YM+m65/cjg8XG7rwILqRtMTHtJddvFvbULATryLZqj6L6xTnsY7qKfsHFJJuFBeyzMBUNrrYJdJZs7Se16TAu5VlzIDUGrbNReD45T4ihUlfTbB05AbbPXQmiaxjxhuyog1ebBNFxVzSfEPXBjLE8MK20MdOcxUc9nmZumRCGFzl92nlbhu30lgMDWPsP1kqDVRd99Bc6p5fNAJzjE5YhATX2VDOqLL4a/AyrlTABBrUAL3KjfYH8pXSV2ajg/XXTIY5ppNbOTQgVYB7YmeyKcN381CQpAbxNUMrajjYYZexGRUbCXmQgZUuz9oxLrGumiUFtHrQYDV2seOECAWFu0QLKjdedDaiPyVYfFvAMc4qlm2eBZf1I2aJtdF5XnYkH0Dp9bGgS3ipAuwzy/fW6OEcmoTPW/IsCq6X+Q3AtRH/kN6ys/WbGUTg1SRY6+O2Gt6W3qCnxWQMMU5M/S/UcbyFOGvnTSDRkm6vibofAiM4RPY+Vq9FAqkJfUZQi+cAJTIdkogOUUGGpFXO+8kNUt4FnAMuV69GudnIex6LZV+c4dymeIwBEqmofpPWqTDUNEMgdrtsIlSEHggRifCMemWDJx//6Yqz25omYpyp1FVlqsiutZL0Qx+Gcm/LacWLk/+GYdwAPYQBZp2GV+4D2FcgmW52x8pK9ciLgNJ5RBzHi2q2PKTqCxGn3zQTWkxZhbwOY3uhgzdzJfA/58TIqVZyO4km3k6fl8apvUMMqd0hZ7aZ689cCvxRJP6x781WLTbtgbdiQxidefLgGbDUSBojnkpLOG+kYd2oXLmZSNvDVec3i+tWyDSpKXEMVlSpfToNXW1iHf3w5INGccdaDl81ci8FAHCPJQxF1kC1nDxF3bxp7HiLV2nlGzLzcjSsfdzo+OL3EVRz8HOUCIyaUeqBf0d5b74d1B/II9/gH5Yo0aNdxXdO6bHtQLmPxjm7uD4lb7x5YQ6NtO+dhKvPpsT3vTnGBPOurT/fiiEYIrjmdYHUdjTzokKLiiiMuZq9QpJEwZCe3Wn0GbOPU1kIDMUhDf4wO0PMoC9dzMlNFtaAIqn6VwSaG5Ex5g7vS/WY1tr/ZOA3bQv36JRz3JXSXGSKHn7BTY/qa7r0Sga0O2znX8FYKUgQ9ZgIL/qQZRtLeohVHJ6tXBfepFPQK35dnj1KLX6hokg4WMum+AbYGorWH9p+ACm/XbxlEgxYYAZGS7Uz9a30ZntZDJu7Afmb/YjnUDWYBCx3YL1+6vo+esIj6Fr09tiDtvJTJxNtSsSDbq4Zkoi78iIR2+khTM1QV01p/VDeaeIBWNZT4K+4yBVrQo6Z2vJPqwJSTm59MRdFEv4UecPSa6INndA94eZaUMvVEp3QOxCtUT6XV5vrx6e+di9WsmTWsvA0v5g/jxGt3zSKwPgK3a77KJ8hI2J5eDELSAJz0wyPbnaK7M+gxa07TNYjyzvqzFSYsIJUXrvbu1iBPtLdM3ga0XsYvvhyXobypvqJiS4M3a9PLBudQF3GWBrbJjkVFSmJWSYYOxsw4i/zBfolx0RcgiZOOa4vMJ2wZ1W0rqYVfW6SlVpsLibHY43ELBiyGknqUA3ir6RMQd0pQpuEvGI8LOD7oFngbhg30nfOqM7FtROQL+xEL8LJIZnQhA+GuyoHGkj1KaQxg03rq6kY6P/6WcC4llj5C2q8ONfpYb5lyTuzCI/97Gye21m4G/KEtxIwnF+8PWDJ7O3i62G5DcQGWeQdFuetwemy/wRy8MHPCjmUX4q8z5DI4fjU4FbfgQW6Cx/V9A5rv3uA6GCPjVeunJytiHgFvKypEA8AaVVgW1o7sa+eYfyFd07OLYHPZWPJRoykyLIJNxF/lHHL1yL64/XbqiH8y1RSA+r6SW4O7u0Z42tD6S8afOxFrNUTPDqCTVz5EQyxl2e1aaDs/efMmIu9vEk8adGrFfh83MhdvL/dcqVemGulyYJLuW/JRi0GpZeOU4GusBeyFuc7bc7eCwcnWirb1qa0o07aaaJqcMnYjI6G0+VEWQwvel8Y4MZFzRXYvCVKi60LAg9kME9wmnzoTNhmQKYaJhLE92gxEmbp1Ls+UTAOwkIeVAY1ZEMdwZFg4B5MIEvztsVBE/9RH9EJSIw8OaMQVry/b+7PsqOUxpfdsUG+cM5yZsMoarw7I86c+TdbF6la/cx9OIm/3ZO5J1uHZgFZQNMqR7ffck3WK1wkvZ+IaShvg1E697cMZYmc4kC9eUGaEVmXJWaXfuHrwHtZk1sNmJxc0WxcRk5kJ2OLWoiCvS9BFjpJkmO1E5FVDVjfnzg5Fe/BxHCPI0trbigMy5XsvL4ulbQiv8xlLNB6QqzCsMKV7h0ggzaC02kAQSZ5kUhaAqijvnQM7JbEb5mLdIiqRWGwk/HW73Gw+wysA3J2zH0apGHE0v76mCT322RFTMtujH7Y+/zDrVfi3RY2o/bf+fXY7cwlCIExxIiYXCRq/2Wd2roc+N4wd+iMSqJ3ODxFrc593EuPdKoVIwyCF8AP6MjiS3Tq+5ucfCKf1tsVTar50k8ZyiDoerO4qxeeRBYsoMbQsfJKfZmy/EBIPlwbDVAtDiYujRit/DGBAQGkvKblSKX3lHuoeDUNYnlAXhhS9ZuwsuHFUnvvdanqRZMaPtrZ0duBtHV649XWxXhQG13w8HCwG941qtf9tFoxLK4DmWzaJsi7lNDhNwsdf9P1ggWxEUMpU6nvBpAagnHIUov3DzGgwCzqxRLf+c+9rhT16ur+ToFqjru0baCkEI/bHIwXtv0mWn3Izp3i4JE1w+iPJ015sMxhABcT/li9RD55HMrfNKaXDmitcT//KukNDfdgL8NgwdMLit9WMh5Z/rAZi+okTlgA5I5heeoW5X5xRSqq2IOm89K5HzLPWGKKINC6YGx2dch2s0HA8Szx+d0UJME+3UjrabpOq40WZi2+rZcV31+glaCQbe4oTNKpl+6tIfvTK1thwprTTG8KB5D2SxzBE2QfR1g7ZlB+mqTSmdHO7goCRK3YrKCLNxqJqMeZs60ZtD751DOOqi3k5JY5Rw0OJ7Tc1Uljue6TitU/b1nZ+fufePjpVeyRGQD1ddRU13LmlHh9B7PZFHy/AabYx5St8hkldoKNMD9tCbjo9+DjHm0wAadtrcySlpJixEP+lxdV7i9yuLPkNnPtwfFF7RF+sKFm7jC/0OCqbKjQNNRZplnD13chVULtZoOHTJsY+4upygVoz/aMDo06J+aRXFEW8TyILQqUZToLFnOMdvS65DL3HXx1cvmotXhnefFGy1l9f4hhZ8QFzXBFp6n9b8jxhNOtJO40nA9DXR/O1IlHgjkBPZ0HJhOmEJyGTzXWQv0DUKcj5PGOcL9pUM/rL4O8G44duY2oa90I+N6fXN6xK76rz9t1uQ19lnxu7+nmMvy9TeaRRuszWWRGlVgaEmiZ92CbokIDVCdJVhh+PUc3zFCr7anEi/HTuEVm/XzeNyZgn28HtkDK5+RFgZhYc4G9e2b1+vYEGBW8gRmrWTSgW7Vxh36RPoj8GOR9Z1oyjQxftcmlTvrqvISunXm+W83MbDWuY2VPG6IIea7BFG+tltWB5blbiJBnxQnBfNomUVUD8inpyaj6eHBKwVYTA/g8LaTOG4Zpzt+l5zIsQmCHXD28CTgCfAIEWDQxflZoqzUb1p7Onx0d/wa1xEy0lUIMbp+U4nBYOYFPefgRCg8Eji7ijaqIDc//vY30dittr0zN89M7q79cpIKelAfpQuKgqciTAr7Krn9raUUd8ekQan6sBlw9MJz3t6zI3AcKhJU0g88a+2KCuxpdDu4Z4TQQRNDoJVJ4zpVWgwZ4QIzr506ln5w3gcagTxNzqAUS6QRKWqP1OV3DgUnH8J3kPX2CEGQDLQmtTqFk6PMNz8v+MO+XU1Fw+ioas2TMb6RTl8rMnnrhTnE41KnzXJLL4iLoBLIEuUxYOJmryuVxSK19sp4Q1X7VCLR7MWtDUMFKGOhGU4UPns41vp5U25SHn/vzoCyFJea/h5shXv3ol1JoK/c7DSmGYq1ODrBwE23rZBe6M8Zc9fLC4FZ6Kq08dg8g74fQSeoa7oYNq5iGyItxChyjK1EWfZT2egAmyRgaRTP2ThT6CfFz1mSTRo5ktTCBzebgDGRRkpOlTwQU23Mmsep5rQe6zLt6YH1FifsZ3C45iHhbDqWEgWgu9Q42qrWkhHrmrWDSTP6mkiHUWoIfhLNcVSb1i2ZcoZT/PR8yeDU3LEXc1IBjNdTPDPzkaur90Gvv/XpudBwSqfFXG+xc7oh/1JAZvwU7THg/3kBKwBOoXRK91RIcbX1Lkch2cvjF8iCC21tUribqayNxvOKrV+Io/6f/9PCYhX2LWgNtFe0pJp8MPkA0N7h0U0XMpPp1OhTxFznXHMSmVIyUaqXqKiYw2RhizntPJzs8xIv0w3UhVeV8K0TSi8q5qkTm4JcF7oF+/QX5tHNEmZ/OkcnL67NvuBHjILVtbtq81w1KY2BEBR+6BoyE5i66NCFXopsLMLNtrWgH0Itp+tYNstRnudtL1mVHTDM3E4cFV4JM/qZQukEov6whEi8tKtY3kfbw86wWoRqMlxSbWRty62z9qcypJGfgG/4+slUitRsZPIlgubHsOloSKZGVODFPqbaZPst5C+DjcQRzgdlEWch9LeUoAtNZwoyrtNpjVqhiqppk9srYF7UZYkqWRWwMbsHfyrbeNqcnS+KQRuL1tnuT5B+263gGcZOwG8i1JSgFhNH5/QoHPN5J+n1OP/PL/IVGru9i8TOYInIRjXiZJwCgAnhoF2oQMpdNtLxwlPgsxI4exJZw9KoSjuUvp5waA3ESRYU+qCodH1upuOXwUYFdRNxclHQrRvilvqkFjAXLP1qBapnHmHMOzFAk/H/9jKBqPxPSl6xCJ4cdea41eLx2H6knr32JD6cMpgEaXx1hvm0MPmsCvTVYJp2borHV+8cIRI9JdsHcPjLY1VynjJLUZSza7GR097WHxJDeXy4TFaTQUJ/Xeug0VX06ooSua7TpUoGr7cNBZgFfvzzFAuW5ejL+5VtGPQDxkBpfFPqjdEXM0S11gDMluZ9HmVJzv+ByRXVf3uTA5I3BTzQbq73BuVVH6TJp9mPf6z03D+2S6dOiP+JQB8Br3m7VIqfWpun9TgJRl6VBEZGyTFmvoy3yhS6V3N6G0sgMatLyBc/a4zvjptNLD07zoVtUCTtwcXZzeomKQxNJATd1XGfZ1BJMp/opNq4wLxweWxkNg5rKs5DzlSFKlf6wUFlbYi7uavC9mIlz57Tz1dIEWGf/5G62sUhpmk8lYJ6YO6pcCHc3Y8NUvqbQ8rfSDMUGR3APPJ8TtIXQ4Qg/5zvd2RTumk+JkQzH+pvjiQWljTpoHX9u5p0VSSn1e2MOpuABLsVvtoM3eu+ni/YUTEo9hJY2lOHzLPzDRC8mQSIOtNLDGVSU0PDifGn4ZtDJ0kEze3hijdJ6M7EEIi6h3JnZezZRg1Y8r+/qw4pmelgNi5ENtHSm9VG7YzC2Sj18rUa5a7u8auN2d6t053zlB+L5J4B0zDHM4kZ+EHU9URCQv19xV2Za4nWbTnV639Hrx5XBjR0F0yyDnZwPy7FQhJNiCN2XeKH55hKzcA1z/gkNj19ACSoptZQ+6cWr/gpwFZwnt1nsUQqBSn8LifL3ECCiXpEEg5Cpup1GAV6cAUexyrhVpy2/fS+SoiJ29VpmD9LtlEwNsz7PDIwYEi02jjuXmUXG7/5q9Ydgyds+3g/iL0ywcUu9rt3FMjlUtP8z95WrBUnaWl3XeSnPrPNQrOdVGbVYdKl++lAtfQL3zqVF5yZdkTY2OBbsvDPh5bbLiag1k+FfVZ9rdelkIrYMP86/u7v28KG+NudhbchFhwg3TL0aB7zz0+ASX04hU1eGAqzpJlymqZGZhfUUHcETdLNPHSgQddk4cidVSdqPPU8E+BnFmtW3UFuyaWPK53RRvTOdPFRFWrGUrj8/VnCsoAdPHM93wR0ciSC/ijJCXrAFgkLMy/wgFBBgg+D1fw0mfnDjrR21nFl4jtjAtB5S3798vH0dL5qO5GmXRYYTuKoKoDt7xda/Nm2vdkVmqP6vwNuzS8MT64/R2anqlrSUtTmPddCluh6er+TqtdO0tkEm8cids0ZwWHa7ctfnctUSER/y0GVbrhEeFlrhTrYyC8DQ42UVBsphl1MxrKwn+BfWCPluhTuH+Sf725r/q9hbBN+ARPGh65NCP5NJWZ287g13nswyyKXMe+DvKbOjnGh+jo3Z4oT1dT7Qjer4mzJ15MArfDzU1oglYczeHN24EakpzBLf4LzDdhbr+xY+fIGzdMm1dekJ1cZ2Ex3L+kB3TdubKWdwhBPJOSbThoihrgx0ZdPyF2plwx44RlK5I4WQxO2FLM3YNdUuELiH+DNNUi7uTPSdHryfvqDsEUPXcM19+8zf4FG05EaMncdoFfcMOge3xUxuGCeITKG0T5x4hBt8gpoNYwGuuDXjghlKuSTTpBbXr8llordFjrXwkgZN05wBbkbG7WItUD6ftMnL88f/1Yl4i+BzR9PEeAKBMAFs78ljnQkcA57A3H5o4yUj0O5QRaW6Lz0i5/KnlDrI7Zw7Lpu/oAVfTB4VlDtzjFJ5MN9I5qp4VDHkyAgf/4N/mmBwMO8vHuabWkPLZfhoyujtCAw+JDeagY0FfXXylVrcnwOtrLtDT2nnxSMK2w0yHvIXv65TPwuRe93/mVJHZMKwGzuY+ghI0EB3D00CIobo8BdemeonuCRI71mOaWAoyNIzxxferNLDETnA23X1Cg/Rq0+kG7Xbd7h7j5yftjEnaUqdvePrZp3GHiePqTywP0Se0tGPacStxfz4kbrH5OC9WQuP00QZMVvxZvOVREFJGlkTRNH6sjC4nEbF1lXlGibhRLKV4+g/6peOGxTSyIZUnzQ5BxN1Sd1JDz1kRbEE7jSXCEB/Xh+t5FKZ16qACtdzpbqlBGiYVGVEa9PxMIX5mmosNBAvDJMdYL+3VHaIcMVYV/ihW0xsaHQtGuEKuPCwu73AIFyspEYLXnn0gVliRD1LX2C4NtZiUpOwZhhNmoJWyZ7H5C0UY2EnLVsK5oqZD5YiyC2ESQcHm/rMVKZjOXCycp12Svq2k/gFY5XFoJJX+jqcwOGcGZ1JyMhL7DgxTeK41IGUPtWzOgoobojm/fo1IWWMw7cxTZvcqe5xuXtNi/gYFjWa7RDp+0xIOtYzEmK8dejbqi0ZpveeHhsyKZ3vyqfyGcIcU/IkMmiv4uFW7vVpIeg8sR31l7SrIBlHhwuFoyi7eCuCFnIew1MIQN7TQt6YxLWGSRPvL8FYBogVrRRwSlhoUe7vA=" title="Mekko Graphics Chart"/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4688681" y="3352800"/>
            <a:ext cx="4284821" cy="2618740"/>
          </a:xfrm>
          <a:prstGeom prst="rect">
            <a:avLst/>
          </a:prstGeom>
          <a:blipFill>
            <a:blip r:embed="rId10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/>
          <p:nvPr/>
        </p:nvGrpSpPr>
        <p:grpSpPr>
          <a:xfrm>
            <a:off x="2400300" y="5867400"/>
            <a:ext cx="2133600" cy="276999"/>
            <a:chOff x="2438400" y="5867400"/>
            <a:chExt cx="2133600" cy="276999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2438400" y="6021288"/>
              <a:ext cx="914400" cy="0"/>
            </a:xfrm>
            <a:prstGeom prst="line">
              <a:avLst/>
            </a:prstGeom>
            <a:ln w="38100">
              <a:solidFill>
                <a:srgbClr val="27717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3352800" y="5867400"/>
              <a:ext cx="12192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/>
              <a:r>
                <a:rPr lang="en-US" sz="1200" b="1" dirty="0">
                  <a:latin typeface="+mj-lt"/>
                </a:rPr>
                <a:t>Last 5 Months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953000" y="5867400"/>
            <a:ext cx="3908583" cy="276999"/>
            <a:chOff x="5181600" y="5867400"/>
            <a:chExt cx="3908583" cy="276999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5181600" y="6021288"/>
              <a:ext cx="914400" cy="0"/>
            </a:xfrm>
            <a:prstGeom prst="line">
              <a:avLst/>
            </a:prstGeom>
            <a:ln w="38100">
              <a:solidFill>
                <a:srgbClr val="9E342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6125134" y="5867400"/>
              <a:ext cx="29650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/>
              <a:r>
                <a:rPr lang="en-US" sz="1200" b="1" dirty="0">
                  <a:latin typeface="+mj-lt"/>
                </a:rPr>
                <a:t>Worst Performing Month in Past Year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533400" y="5867400"/>
            <a:ext cx="1447800" cy="276999"/>
            <a:chOff x="76200" y="5867400"/>
            <a:chExt cx="1447800" cy="276999"/>
          </a:xfrm>
        </p:grpSpPr>
        <p:cxnSp>
          <p:nvCxnSpPr>
            <p:cNvPr id="13" name="Straight Connector 12"/>
            <p:cNvCxnSpPr/>
            <p:nvPr/>
          </p:nvCxnSpPr>
          <p:spPr>
            <a:xfrm>
              <a:off x="76200" y="6021288"/>
              <a:ext cx="914400" cy="0"/>
            </a:xfrm>
            <a:prstGeom prst="line">
              <a:avLst/>
            </a:prstGeom>
            <a:ln w="38100" cap="flat" cmpd="sng" algn="ctr">
              <a:solidFill>
                <a:srgbClr val="C4EB5E"/>
              </a:solidFill>
              <a:prstDash val="dash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</p:cxnSp>
        <p:sp>
          <p:nvSpPr>
            <p:cNvPr id="14" name="TextBox 13"/>
            <p:cNvSpPr txBox="1"/>
            <p:nvPr/>
          </p:nvSpPr>
          <p:spPr>
            <a:xfrm>
              <a:off x="990600" y="5867400"/>
              <a:ext cx="5334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/>
              <a:r>
                <a:rPr lang="en-US" sz="1200" b="1" dirty="0">
                  <a:latin typeface="+mj-lt"/>
                </a:rPr>
                <a:t>Goal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448531" y="6324600"/>
            <a:ext cx="83144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* Preliminary results, data not fully reconciled </a:t>
            </a:r>
          </a:p>
        </p:txBody>
      </p:sp>
    </p:spTree>
    <p:extLst>
      <p:ext uri="{BB962C8B-B14F-4D97-AF65-F5344CB8AC3E}">
        <p14:creationId xmlns:p14="http://schemas.microsoft.com/office/powerpoint/2010/main" val="38352002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EB10139-5408-447F-9AB3-10A80A028D3D}"/>
              </a:ext>
            </a:extLst>
          </p:cNvPr>
          <p:cNvSpPr txBox="1">
            <a:spLocks/>
          </p:cNvSpPr>
          <p:nvPr/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dirty="0"/>
              <a:t>CALL CENTER TRANSITION UPDATE</a:t>
            </a:r>
            <a:br>
              <a:rPr lang="en-US" dirty="0"/>
            </a:br>
            <a:r>
              <a:rPr lang="en-US" dirty="0"/>
              <a:t>Transdev invested significant time to make the transition a success</a:t>
            </a:r>
            <a:endParaRPr lang="en-US" kern="0" dirty="0"/>
          </a:p>
        </p:txBody>
      </p:sp>
      <p:grpSp>
        <p:nvGrpSpPr>
          <p:cNvPr id="6" name="Group 5"/>
          <p:cNvGrpSpPr/>
          <p:nvPr/>
        </p:nvGrpSpPr>
        <p:grpSpPr>
          <a:xfrm>
            <a:off x="152400" y="1475240"/>
            <a:ext cx="8839200" cy="4266385"/>
            <a:chOff x="152400" y="1143000"/>
            <a:chExt cx="8839200" cy="4266385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567CE532-D9D5-48AF-9669-E4D4C1297F7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55603" y="2845988"/>
              <a:ext cx="8595360" cy="0"/>
            </a:xfrm>
            <a:prstGeom prst="straightConnector1">
              <a:avLst/>
            </a:prstGeom>
            <a:ln w="25400">
              <a:solidFill>
                <a:schemeClr val="tx2"/>
              </a:solidFill>
              <a:prstDash val="solid"/>
              <a:headEnd type="none" w="lg" len="lg"/>
              <a:tailEnd type="oval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ontent Placeholder 8">
              <a:extLst>
                <a:ext uri="{FF2B5EF4-FFF2-40B4-BE49-F238E27FC236}">
                  <a16:creationId xmlns:a16="http://schemas.microsoft.com/office/drawing/2014/main" id="{7BAC608F-9526-4126-A78B-B28B887429EE}"/>
                </a:ext>
              </a:extLst>
            </p:cNvPr>
            <p:cNvSpPr txBox="1">
              <a:spLocks/>
            </p:cNvSpPr>
            <p:nvPr/>
          </p:nvSpPr>
          <p:spPr>
            <a:xfrm>
              <a:off x="152400" y="3522695"/>
              <a:ext cx="2093997" cy="1883004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None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179388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•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358775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‒"/>
                <a:tabLst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538163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•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717550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‒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335221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1707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1200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069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ts val="1200"/>
                </a:spcBef>
              </a:pPr>
              <a:endParaRPr lang="en-US" sz="1200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0" name="Content Placeholder 9">
              <a:extLst>
                <a:ext uri="{FF2B5EF4-FFF2-40B4-BE49-F238E27FC236}">
                  <a16:creationId xmlns:a16="http://schemas.microsoft.com/office/drawing/2014/main" id="{088E202C-8232-4314-A694-90077F0EE66B}"/>
                </a:ext>
              </a:extLst>
            </p:cNvPr>
            <p:cNvSpPr txBox="1">
              <a:spLocks/>
            </p:cNvSpPr>
            <p:nvPr/>
          </p:nvSpPr>
          <p:spPr>
            <a:xfrm>
              <a:off x="2272799" y="3522695"/>
              <a:ext cx="2146801" cy="1886690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None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179388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•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358775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‒"/>
                <a:tabLst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538163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•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717550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‒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335221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1707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1200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069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ts val="1200"/>
                </a:spcBef>
              </a:pPr>
              <a:endParaRPr lang="en-US" sz="1200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2" name="Content Placeholder 10">
              <a:extLst>
                <a:ext uri="{FF2B5EF4-FFF2-40B4-BE49-F238E27FC236}">
                  <a16:creationId xmlns:a16="http://schemas.microsoft.com/office/drawing/2014/main" id="{3104CEDA-313B-466C-93E6-457AEAC2B61B}"/>
                </a:ext>
              </a:extLst>
            </p:cNvPr>
            <p:cNvSpPr txBox="1">
              <a:spLocks/>
            </p:cNvSpPr>
            <p:nvPr/>
          </p:nvSpPr>
          <p:spPr>
            <a:xfrm>
              <a:off x="4572000" y="3522695"/>
              <a:ext cx="2093997" cy="1883004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None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179388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•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358775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‒"/>
                <a:tabLst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538163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•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717550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‒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335221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1707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1200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069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endParaRPr lang="en-US" sz="1200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16" name="Content Placeholder 12">
              <a:extLst>
                <a:ext uri="{FF2B5EF4-FFF2-40B4-BE49-F238E27FC236}">
                  <a16:creationId xmlns:a16="http://schemas.microsoft.com/office/drawing/2014/main" id="{A9738CF8-2DAF-45DF-A9AC-B40BA14EA722}"/>
                </a:ext>
              </a:extLst>
            </p:cNvPr>
            <p:cNvSpPr txBox="1">
              <a:spLocks/>
            </p:cNvSpPr>
            <p:nvPr/>
          </p:nvSpPr>
          <p:spPr>
            <a:xfrm>
              <a:off x="6705600" y="3522695"/>
              <a:ext cx="2120399" cy="1883004"/>
            </a:xfrm>
            <a:prstGeom prst="rect">
              <a:avLst/>
            </a:prstGeom>
          </p:spPr>
          <p:txBody>
            <a:bodyPr lIns="0" tIns="0" rIns="0" bIns="0"/>
            <a:lstStyle>
              <a:lvl1pPr marL="0" indent="0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None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1pPr>
              <a:lvl2pPr marL="179388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•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2pPr>
              <a:lvl3pPr marL="358775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‒"/>
                <a:tabLst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3pPr>
              <a:lvl4pPr marL="538163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•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4pPr>
              <a:lvl5pPr marL="717550" indent="-179388" algn="l" rtl="0" eaLnBrk="1" fontAlgn="base" hangingPunct="1">
                <a:spcBef>
                  <a:spcPts val="800"/>
                </a:spcBef>
                <a:spcAft>
                  <a:spcPct val="0"/>
                </a:spcAft>
                <a:buFont typeface="Arial" pitchFamily="34" charset="0"/>
                <a:buChar char="‒"/>
                <a:defRPr sz="1400" kern="1200">
                  <a:solidFill>
                    <a:schemeClr val="bg1"/>
                  </a:solidFill>
                  <a:latin typeface="Arial" panose="020B0604020202020204" pitchFamily="34" charset="0"/>
                  <a:ea typeface="Roboto" panose="02000000000000000000" pitchFamily="2" charset="0"/>
                  <a:cs typeface="Arial" panose="020B0604020202020204" pitchFamily="34" charset="0"/>
                </a:defRPr>
              </a:lvl5pPr>
              <a:lvl6pPr marL="335221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1707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1200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0693" indent="-304747" algn="l" defTabSz="121898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7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10000"/>
                </a:lnSpc>
                <a:spcBef>
                  <a:spcPts val="1200"/>
                </a:spcBef>
              </a:pPr>
              <a:endParaRPr lang="en-US" sz="1200" dirty="0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70934320-7980-4589-BF6B-2F66FCFC1B4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96240" y="3684689"/>
              <a:ext cx="8595360" cy="0"/>
            </a:xfrm>
            <a:prstGeom prst="straightConnector1">
              <a:avLst/>
            </a:prstGeom>
            <a:ln w="25400">
              <a:solidFill>
                <a:schemeClr val="tx1"/>
              </a:solidFill>
              <a:prstDash val="solid"/>
              <a:headEnd type="triangle" w="lg" len="lg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" name="Group 1"/>
            <p:cNvGrpSpPr/>
            <p:nvPr/>
          </p:nvGrpSpPr>
          <p:grpSpPr>
            <a:xfrm>
              <a:off x="4785208" y="1157655"/>
              <a:ext cx="1943992" cy="4214445"/>
              <a:chOff x="4527606" y="1157655"/>
              <a:chExt cx="1943992" cy="4214445"/>
            </a:xfrm>
          </p:grpSpPr>
          <p:sp>
            <p:nvSpPr>
              <p:cNvPr id="19" name="Content Placeholder 10">
                <a:extLst>
                  <a:ext uri="{FF2B5EF4-FFF2-40B4-BE49-F238E27FC236}">
                    <a16:creationId xmlns:a16="http://schemas.microsoft.com/office/drawing/2014/main" id="{D49442DA-777F-4CCC-8BF4-ED7A94E1C8B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527606" y="1940449"/>
                <a:ext cx="1943992" cy="498598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0" indent="0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None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179388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358775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tabLst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538163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717550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335221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61707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71200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18069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Transitioned Contracts</a:t>
                </a:r>
              </a:p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Engaged Stakeholders</a:t>
                </a:r>
              </a:p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Hired Employees</a:t>
                </a:r>
              </a:p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endParaRPr lang="en-US" b="1" dirty="0">
                  <a:solidFill>
                    <a:schemeClr val="tx2"/>
                  </a:solidFill>
                  <a:latin typeface="Arial"/>
                  <a:cs typeface="Arial Black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920E5115-C202-433E-92FA-07098DB30E1C}"/>
                  </a:ext>
                </a:extLst>
              </p:cNvPr>
              <p:cNvSpPr/>
              <p:nvPr/>
            </p:nvSpPr>
            <p:spPr>
              <a:xfrm>
                <a:off x="5178207" y="2666499"/>
                <a:ext cx="642789" cy="384380"/>
              </a:xfrm>
              <a:prstGeom prst="ellipse">
                <a:avLst/>
              </a:prstGeom>
              <a:solidFill>
                <a:schemeClr val="bg1"/>
              </a:solidFill>
              <a:ln w="22225" cmpd="sng">
                <a:noFill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Arial Black" panose="020B0A04020102020204" pitchFamily="34" charset="0"/>
                    <a:ea typeface="Roboto Light" panose="02000000000000000000" pitchFamily="2" charset="0"/>
                  </a:rPr>
                  <a:t>May</a:t>
                </a:r>
              </a:p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Arial Black" panose="020B0A04020102020204" pitchFamily="34" charset="0"/>
                    <a:ea typeface="Roboto Light" panose="02000000000000000000" pitchFamily="2" charset="0"/>
                  </a:rPr>
                  <a:t>8-31</a:t>
                </a:r>
              </a:p>
            </p:txBody>
          </p:sp>
          <p:pic>
            <p:nvPicPr>
              <p:cNvPr id="25" name="Picture 12">
                <a:extLst>
                  <a:ext uri="{FF2B5EF4-FFF2-40B4-BE49-F238E27FC236}">
                    <a16:creationId xmlns:a16="http://schemas.microsoft.com/office/drawing/2014/main" id="{0DC4864D-9330-44B8-B9A0-2FE033923D8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51410" y="1157655"/>
                <a:ext cx="696383" cy="70327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4D3F76C0-146A-48F5-BEB7-2625E81D86CA}"/>
                  </a:ext>
                </a:extLst>
              </p:cNvPr>
              <p:cNvSpPr/>
              <p:nvPr/>
            </p:nvSpPr>
            <p:spPr>
              <a:xfrm>
                <a:off x="4856006" y="3505200"/>
                <a:ext cx="1287192" cy="384380"/>
              </a:xfrm>
              <a:prstGeom prst="ellipse">
                <a:avLst/>
              </a:prstGeom>
              <a:solidFill>
                <a:schemeClr val="bg1"/>
              </a:solidFill>
              <a:ln w="22225" cmpd="sng">
                <a:noFill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Arial Black" panose="020B0A04020102020204" pitchFamily="34" charset="0"/>
                    <a:ea typeface="Roboto Light" panose="02000000000000000000" pitchFamily="2" charset="0"/>
                  </a:rPr>
                  <a:t>Summer</a:t>
                </a:r>
              </a:p>
            </p:txBody>
          </p:sp>
          <p:sp>
            <p:nvSpPr>
              <p:cNvPr id="37" name="Content Placeholder 9">
                <a:extLst>
                  <a:ext uri="{FF2B5EF4-FFF2-40B4-BE49-F238E27FC236}">
                    <a16:creationId xmlns:a16="http://schemas.microsoft.com/office/drawing/2014/main" id="{9DF3A88A-0994-47C5-B2C9-9FB8E445D01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653603" y="4873502"/>
                <a:ext cx="1691998" cy="498598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0" indent="0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None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179388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358775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tabLst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538163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717550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335221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61707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71200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18069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Planning for VTS Integration</a:t>
                </a:r>
              </a:p>
            </p:txBody>
          </p:sp>
          <p:pic>
            <p:nvPicPr>
              <p:cNvPr id="49" name="Picture 2">
                <a:extLst>
                  <a:ext uri="{FF2B5EF4-FFF2-40B4-BE49-F238E27FC236}">
                    <a16:creationId xmlns:a16="http://schemas.microsoft.com/office/drawing/2014/main" id="{C2F62737-4D41-48BB-8470-CB4800B630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98984" y="4092162"/>
                <a:ext cx="601234" cy="6012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5" name="Group 4"/>
            <p:cNvGrpSpPr/>
            <p:nvPr/>
          </p:nvGrpSpPr>
          <p:grpSpPr>
            <a:xfrm>
              <a:off x="247204" y="1169083"/>
              <a:ext cx="1943994" cy="4203017"/>
              <a:chOff x="247204" y="1169083"/>
              <a:chExt cx="1943994" cy="4203017"/>
            </a:xfrm>
          </p:grpSpPr>
          <p:sp>
            <p:nvSpPr>
              <p:cNvPr id="17" name="Content Placeholder 8">
                <a:extLst>
                  <a:ext uri="{FF2B5EF4-FFF2-40B4-BE49-F238E27FC236}">
                    <a16:creationId xmlns:a16="http://schemas.microsoft.com/office/drawing/2014/main" id="{3026A8B5-C57D-46C4-A6BE-A8091B2C940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7204" y="1940449"/>
                <a:ext cx="1943994" cy="498598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0" indent="0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None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179388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358775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tabLst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538163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717550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335221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61707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71200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18069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Contract Awarded</a:t>
                </a:r>
              </a:p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Employees Contacted</a:t>
                </a: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7BA33D10-C856-4459-AF14-19CB6710D8EB}"/>
                  </a:ext>
                </a:extLst>
              </p:cNvPr>
              <p:cNvSpPr/>
              <p:nvPr/>
            </p:nvSpPr>
            <p:spPr>
              <a:xfrm>
                <a:off x="758156" y="2666499"/>
                <a:ext cx="922088" cy="384380"/>
              </a:xfrm>
              <a:prstGeom prst="ellipse">
                <a:avLst/>
              </a:prstGeom>
              <a:solidFill>
                <a:schemeClr val="bg1"/>
              </a:solidFill>
              <a:ln w="22225" cmpd="sng">
                <a:noFill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Arial Black" panose="020B0A04020102020204" pitchFamily="34" charset="0"/>
                    <a:ea typeface="Roboto Light" panose="02000000000000000000" pitchFamily="2" charset="0"/>
                  </a:rPr>
                  <a:t>April 30</a:t>
                </a:r>
              </a:p>
            </p:txBody>
          </p:sp>
          <p:pic>
            <p:nvPicPr>
              <p:cNvPr id="45" name="Picture 16">
                <a:extLst>
                  <a:ext uri="{FF2B5EF4-FFF2-40B4-BE49-F238E27FC236}">
                    <a16:creationId xmlns:a16="http://schemas.microsoft.com/office/drawing/2014/main" id="{2836073B-4B3C-4F70-A401-186FF59B055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68883" y="1169083"/>
                <a:ext cx="700634" cy="68042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02EE9FD9-549C-415F-8FD7-F85136F459A9}"/>
                  </a:ext>
                </a:extLst>
              </p:cNvPr>
              <p:cNvSpPr/>
              <p:nvPr/>
            </p:nvSpPr>
            <p:spPr>
              <a:xfrm>
                <a:off x="840656" y="3505200"/>
                <a:ext cx="757088" cy="384380"/>
              </a:xfrm>
              <a:prstGeom prst="ellipse">
                <a:avLst/>
              </a:prstGeom>
              <a:solidFill>
                <a:schemeClr val="bg1"/>
              </a:solidFill>
              <a:ln w="22225" cmpd="sng">
                <a:noFill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Arial Black" panose="020B0A04020102020204" pitchFamily="34" charset="0"/>
                    <a:ea typeface="Roboto Light" panose="02000000000000000000" pitchFamily="2" charset="0"/>
                  </a:rPr>
                  <a:t>June</a:t>
                </a:r>
              </a:p>
            </p:txBody>
          </p:sp>
          <p:sp>
            <p:nvSpPr>
              <p:cNvPr id="36" name="Content Placeholder 8">
                <a:extLst>
                  <a:ext uri="{FF2B5EF4-FFF2-40B4-BE49-F238E27FC236}">
                    <a16:creationId xmlns:a16="http://schemas.microsoft.com/office/drawing/2014/main" id="{0F24C5A9-FB4E-4F32-9F58-6BB4E6E943E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1203" y="4873502"/>
                <a:ext cx="1775996" cy="498598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0" indent="0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None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179388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358775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tabLst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538163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717550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335221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61707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71200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18069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Employee </a:t>
                </a:r>
              </a:p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Training</a:t>
                </a:r>
              </a:p>
            </p:txBody>
          </p:sp>
          <p:pic>
            <p:nvPicPr>
              <p:cNvPr id="50" name="Picture 2">
                <a:extLst>
                  <a:ext uri="{FF2B5EF4-FFF2-40B4-BE49-F238E27FC236}">
                    <a16:creationId xmlns:a16="http://schemas.microsoft.com/office/drawing/2014/main" id="{E7712173-0B38-4BD3-88BA-F836EAE6265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2426" y="4066005"/>
                <a:ext cx="653549" cy="65354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3" name="Group 2"/>
            <p:cNvGrpSpPr/>
            <p:nvPr/>
          </p:nvGrpSpPr>
          <p:grpSpPr>
            <a:xfrm>
              <a:off x="7036802" y="1184116"/>
              <a:ext cx="1789198" cy="4187984"/>
              <a:chOff x="6877802" y="1184116"/>
              <a:chExt cx="1789198" cy="4187984"/>
            </a:xfrm>
          </p:grpSpPr>
          <p:sp>
            <p:nvSpPr>
              <p:cNvPr id="21" name="Content Placeholder 12">
                <a:extLst>
                  <a:ext uri="{FF2B5EF4-FFF2-40B4-BE49-F238E27FC236}">
                    <a16:creationId xmlns:a16="http://schemas.microsoft.com/office/drawing/2014/main" id="{A6E347B7-3C97-41A9-89F2-0C075652034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77802" y="1940449"/>
                <a:ext cx="1789198" cy="498598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0" indent="0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None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179388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358775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tabLst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538163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717550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335221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61707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71200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18069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Transdev took full control of TRAC</a:t>
                </a: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97688E13-4CA2-4E05-9A63-A91DAE8F2D93}"/>
                  </a:ext>
                </a:extLst>
              </p:cNvPr>
              <p:cNvSpPr/>
              <p:nvPr/>
            </p:nvSpPr>
            <p:spPr>
              <a:xfrm>
                <a:off x="7406161" y="2666499"/>
                <a:ext cx="732478" cy="384380"/>
              </a:xfrm>
              <a:prstGeom prst="ellipse">
                <a:avLst/>
              </a:prstGeom>
              <a:solidFill>
                <a:schemeClr val="bg1"/>
              </a:solidFill>
              <a:ln w="22225" cmpd="sng">
                <a:noFill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Arial Black" panose="020B0A04020102020204" pitchFamily="34" charset="0"/>
                    <a:ea typeface="Roboto Light" panose="02000000000000000000" pitchFamily="2" charset="0"/>
                  </a:rPr>
                  <a:t>June 1</a:t>
                </a:r>
              </a:p>
            </p:txBody>
          </p:sp>
          <p:pic>
            <p:nvPicPr>
              <p:cNvPr id="43" name="Picture 6">
                <a:extLst>
                  <a:ext uri="{FF2B5EF4-FFF2-40B4-BE49-F238E27FC236}">
                    <a16:creationId xmlns:a16="http://schemas.microsoft.com/office/drawing/2014/main" id="{6052CFC9-D731-47DB-A784-A1D57923A90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47222" y="1184116"/>
                <a:ext cx="650357" cy="65035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547C0AA0-33C5-44D8-9530-C294E592666F}"/>
                  </a:ext>
                </a:extLst>
              </p:cNvPr>
              <p:cNvSpPr/>
              <p:nvPr/>
            </p:nvSpPr>
            <p:spPr>
              <a:xfrm>
                <a:off x="7093199" y="3505200"/>
                <a:ext cx="1358402" cy="384380"/>
              </a:xfrm>
              <a:prstGeom prst="ellipse">
                <a:avLst/>
              </a:prstGeom>
              <a:solidFill>
                <a:schemeClr val="bg1"/>
              </a:solidFill>
              <a:ln w="22225" cmpd="sng">
                <a:noFill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Arial Black" panose="020B0A04020102020204" pitchFamily="34" charset="0"/>
                    <a:ea typeface="Roboto Light" panose="02000000000000000000" pitchFamily="2" charset="0"/>
                  </a:rPr>
                  <a:t>Early Fall</a:t>
                </a:r>
              </a:p>
            </p:txBody>
          </p:sp>
          <p:sp>
            <p:nvSpPr>
              <p:cNvPr id="39" name="Content Placeholder 12">
                <a:extLst>
                  <a:ext uri="{FF2B5EF4-FFF2-40B4-BE49-F238E27FC236}">
                    <a16:creationId xmlns:a16="http://schemas.microsoft.com/office/drawing/2014/main" id="{2E1F7A39-F81F-4189-99F7-21D48A5C5BB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093201" y="4873502"/>
                <a:ext cx="1358400" cy="498598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0" indent="0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None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179388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358775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tabLst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538163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717550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335221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61707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71200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18069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Full VTS </a:t>
                </a:r>
              </a:p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Transition</a:t>
                </a:r>
              </a:p>
            </p:txBody>
          </p:sp>
          <p:pic>
            <p:nvPicPr>
              <p:cNvPr id="51" name="Picture 22">
                <a:extLst>
                  <a:ext uri="{FF2B5EF4-FFF2-40B4-BE49-F238E27FC236}">
                    <a16:creationId xmlns:a16="http://schemas.microsoft.com/office/drawing/2014/main" id="{C3426214-5693-4F5B-BFF7-1059BA1129A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26480" y="4043434"/>
                <a:ext cx="691841" cy="69869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grpSp>
          <p:nvGrpSpPr>
            <p:cNvPr id="4" name="Group 3"/>
            <p:cNvGrpSpPr/>
            <p:nvPr/>
          </p:nvGrpSpPr>
          <p:grpSpPr>
            <a:xfrm>
              <a:off x="2498801" y="1143000"/>
              <a:ext cx="1978804" cy="4229100"/>
              <a:chOff x="2430500" y="1143000"/>
              <a:chExt cx="1978804" cy="4229100"/>
            </a:xfrm>
          </p:grpSpPr>
          <p:sp>
            <p:nvSpPr>
              <p:cNvPr id="18" name="Content Placeholder 9">
                <a:extLst>
                  <a:ext uri="{FF2B5EF4-FFF2-40B4-BE49-F238E27FC236}">
                    <a16:creationId xmlns:a16="http://schemas.microsoft.com/office/drawing/2014/main" id="{708528E1-F908-4E38-85D4-9F765EF058E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685502" y="1940449"/>
                <a:ext cx="1468800" cy="498598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0" indent="0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None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179388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358775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tabLst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538163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717550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335221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61707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71200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18069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Mobilization Team Onsite</a:t>
                </a: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DBD97454-FFAE-4EA3-9D0E-EB2B16F3237F}"/>
                  </a:ext>
                </a:extLst>
              </p:cNvPr>
              <p:cNvSpPr/>
              <p:nvPr/>
            </p:nvSpPr>
            <p:spPr>
              <a:xfrm>
                <a:off x="3098506" y="2666499"/>
                <a:ext cx="642790" cy="384380"/>
              </a:xfrm>
              <a:prstGeom prst="ellipse">
                <a:avLst/>
              </a:prstGeom>
              <a:solidFill>
                <a:schemeClr val="bg1"/>
              </a:solidFill>
              <a:ln w="22225" cmpd="sng">
                <a:noFill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Arial Black" panose="020B0A04020102020204" pitchFamily="34" charset="0"/>
                  </a:rPr>
                  <a:t>May 7</a:t>
                </a:r>
              </a:p>
            </p:txBody>
          </p:sp>
          <p:pic>
            <p:nvPicPr>
              <p:cNvPr id="42" name="Picture 5">
                <a:extLst>
                  <a:ext uri="{FF2B5EF4-FFF2-40B4-BE49-F238E27FC236}">
                    <a16:creationId xmlns:a16="http://schemas.microsoft.com/office/drawing/2014/main" id="{E6C5042F-905B-44EB-8EC5-4493F30A28F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53607" y="1143000"/>
                <a:ext cx="732588" cy="73258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EEB1E049-578D-420B-9DF3-B68403FCECF9}"/>
                  </a:ext>
                </a:extLst>
              </p:cNvPr>
              <p:cNvSpPr/>
              <p:nvPr/>
            </p:nvSpPr>
            <p:spPr>
              <a:xfrm>
                <a:off x="2793303" y="3505200"/>
                <a:ext cx="1253196" cy="384380"/>
              </a:xfrm>
              <a:prstGeom prst="ellipse">
                <a:avLst/>
              </a:prstGeom>
              <a:solidFill>
                <a:schemeClr val="bg1"/>
              </a:solidFill>
              <a:ln w="22225" cmpd="sng">
                <a:noFill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lIns="0" tIns="0" rIns="0" bIns="0" rtlCol="0" anchor="ctr"/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Arial Black" panose="020B0A04020102020204" pitchFamily="34" charset="0"/>
                  </a:rPr>
                  <a:t>Summer</a:t>
                </a:r>
              </a:p>
            </p:txBody>
          </p:sp>
          <p:sp>
            <p:nvSpPr>
              <p:cNvPr id="33" name="Content Placeholder 10">
                <a:extLst>
                  <a:ext uri="{FF2B5EF4-FFF2-40B4-BE49-F238E27FC236}">
                    <a16:creationId xmlns:a16="http://schemas.microsoft.com/office/drawing/2014/main" id="{32C8F556-0088-46BD-A139-5DA192676F2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2430500" y="4873502"/>
                <a:ext cx="1978804" cy="498598"/>
              </a:xfrm>
              <a:prstGeom prst="rect">
                <a:avLst/>
              </a:prstGeom>
            </p:spPr>
            <p:txBody>
              <a:bodyPr vert="horz" lIns="0" tIns="0" rIns="0" bIns="0" rtlCol="0" anchor="t">
                <a:noAutofit/>
              </a:bodyPr>
              <a:lstStyle>
                <a:lvl1pPr marL="0" indent="0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None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1pPr>
                <a:lvl2pPr marL="179388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2pPr>
                <a:lvl3pPr marL="358775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tabLst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3pPr>
                <a:lvl4pPr marL="538163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•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4pPr>
                <a:lvl5pPr marL="717550" indent="-179388" algn="l" rtl="0" eaLnBrk="1" fontAlgn="base" hangingPunct="1">
                  <a:lnSpc>
                    <a:spcPct val="105000"/>
                  </a:lnSpc>
                  <a:spcBef>
                    <a:spcPts val="800"/>
                  </a:spcBef>
                  <a:spcAft>
                    <a:spcPct val="0"/>
                  </a:spcAft>
                  <a:buFont typeface="Arial" pitchFamily="34" charset="0"/>
                  <a:buChar char="‒"/>
                  <a:defRPr sz="1400" kern="1200">
                    <a:solidFill>
                      <a:schemeClr val="bg1"/>
                    </a:solidFill>
                    <a:latin typeface="Arial" panose="020B0604020202020204" pitchFamily="34" charset="0"/>
                    <a:ea typeface="Roboto" panose="02000000000000000000" pitchFamily="2" charset="0"/>
                    <a:cs typeface="Arial" panose="020B0604020202020204" pitchFamily="34" charset="0"/>
                  </a:defRPr>
                </a:lvl5pPr>
                <a:lvl6pPr marL="335221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961707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571200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5180693" indent="-304747" algn="l" defTabSz="1218987" rtl="0" eaLnBrk="1" latinLnBrk="0" hangingPunct="1">
                  <a:spcBef>
                    <a:spcPct val="20000"/>
                  </a:spcBef>
                  <a:buFont typeface="Arial" pitchFamily="34" charset="0"/>
                  <a:buChar char="•"/>
                  <a:defRPr sz="27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lnSpc>
                    <a:spcPct val="90000"/>
                  </a:lnSpc>
                  <a:spcBef>
                    <a:spcPts val="0"/>
                  </a:spcBef>
                </a:pPr>
                <a:r>
                  <a:rPr lang="en-US" b="1" dirty="0">
                    <a:solidFill>
                      <a:schemeClr val="tx2"/>
                    </a:solidFill>
                    <a:latin typeface="Arial"/>
                    <a:cs typeface="Arial Black"/>
                  </a:rPr>
                  <a:t>Ongoing Operational Enhancements</a:t>
                </a:r>
              </a:p>
            </p:txBody>
          </p:sp>
          <p:pic>
            <p:nvPicPr>
              <p:cNvPr id="34" name="Picture 19">
                <a:extLst>
                  <a:ext uri="{FF2B5EF4-FFF2-40B4-BE49-F238E27FC236}">
                    <a16:creationId xmlns:a16="http://schemas.microsoft.com/office/drawing/2014/main" id="{20DEC97E-E84D-4598-9516-DB882DD53F3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77001" y="4046484"/>
                <a:ext cx="685800" cy="6925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sp>
        <p:nvSpPr>
          <p:cNvPr id="38" name="Rectangle 37"/>
          <p:cNvSpPr/>
          <p:nvPr/>
        </p:nvSpPr>
        <p:spPr>
          <a:xfrm>
            <a:off x="6893316" y="1219200"/>
            <a:ext cx="2057648" cy="2413350"/>
          </a:xfrm>
          <a:prstGeom prst="rect">
            <a:avLst/>
          </a:prstGeom>
          <a:solidFill>
            <a:srgbClr val="99CCFF">
              <a:alpha val="21176"/>
            </a:srgbClr>
          </a:solidFill>
          <a:ln w="28575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/>
          <p:cNvSpPr/>
          <p:nvPr/>
        </p:nvSpPr>
        <p:spPr>
          <a:xfrm>
            <a:off x="196047" y="1219200"/>
            <a:ext cx="6674729" cy="2413350"/>
          </a:xfrm>
          <a:prstGeom prst="rect">
            <a:avLst/>
          </a:prstGeom>
          <a:solidFill>
            <a:schemeClr val="bg1">
              <a:lumMod val="65000"/>
              <a:alpha val="40000"/>
            </a:schemeClr>
          </a:solidFill>
          <a:ln w="28575">
            <a:noFill/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680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-DEMAND PARATRANSIT PILOT UPDATE</a:t>
            </a:r>
            <a:br>
              <a:rPr lang="en-US" dirty="0"/>
            </a:br>
            <a:r>
              <a:rPr lang="en-US" dirty="0"/>
              <a:t>Pilot growth has continued and a customer feedback survey was launche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531" y="914400"/>
            <a:ext cx="8314470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>
              <a:spcBef>
                <a:spcPts val="600"/>
              </a:spcBef>
              <a:spcAft>
                <a:spcPts val="600"/>
              </a:spcAft>
            </a:pPr>
            <a:r>
              <a:rPr lang="en-US" sz="1600" b="1" dirty="0"/>
              <a:t>Trip and ridership have </a:t>
            </a: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continued to grow rapidly since our last update in February</a:t>
            </a:r>
          </a:p>
          <a:p>
            <a:pPr marL="35433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6% monthly customer growth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ith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2,061 enrolled customers as of April</a:t>
            </a:r>
          </a:p>
          <a:p>
            <a:pPr marL="35433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7% monthly trip growth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with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2,204 trips taken in April</a:t>
            </a:r>
          </a:p>
          <a:p>
            <a:pPr marL="35433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42% increase in total paratransit trips taken by pilot customers (both RIDE and pilot)</a:t>
            </a:r>
          </a:p>
          <a:p>
            <a:pPr marL="35433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0 – 1% overall savings (program remains cost-neutral)</a:t>
            </a:r>
          </a:p>
          <a:p>
            <a:pPr marL="68580">
              <a:spcBef>
                <a:spcPts val="600"/>
              </a:spcBef>
              <a:spcAft>
                <a:spcPts val="600"/>
              </a:spcAft>
            </a:pP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">
              <a:spcBef>
                <a:spcPts val="600"/>
              </a:spcBef>
              <a:spcAft>
                <a:spcPts val="60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PMI and OTA issued a survey to inform the design of “Pilot 2.0”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68580">
              <a:spcBef>
                <a:spcPts val="600"/>
              </a:spcBef>
              <a:spcAft>
                <a:spcPts val="600"/>
              </a:spcAft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ustomer feedback was solicited on the following:  </a:t>
            </a:r>
          </a:p>
          <a:p>
            <a:pPr marL="35433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rimary benefits of the pilo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: Scheduling flexibility? Trip duration? Comfort?</a:t>
            </a:r>
          </a:p>
          <a:p>
            <a:pPr marL="35433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Behavioral change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: What types of trips do customers take more of? </a:t>
            </a:r>
          </a:p>
          <a:p>
            <a:pPr marL="35433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rice sensitivity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: How might fare increases affect pilot utilization?</a:t>
            </a:r>
          </a:p>
          <a:p>
            <a:pPr marL="35433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Continuing preference for RID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: Why do some pilot members not use Uber/Lyft?</a:t>
            </a:r>
          </a:p>
          <a:p>
            <a:pPr marL="68580">
              <a:spcBef>
                <a:spcPts val="600"/>
              </a:spcBef>
              <a:spcAft>
                <a:spcPts val="600"/>
              </a:spcAft>
            </a:pPr>
            <a:endParaRPr lang="en-US" sz="1600" b="1" u="sng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09244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-DEMAND PARATRANSIT PILOT UPDATE</a:t>
            </a:r>
            <a:br>
              <a:rPr lang="en-US" dirty="0"/>
            </a:br>
            <a:r>
              <a:rPr lang="en-US" dirty="0"/>
              <a:t>Current pilot will be extended to incorporate feedback and launch Pilot 2.0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531" y="914400"/>
            <a:ext cx="831447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>
              <a:spcBef>
                <a:spcPts val="1200"/>
              </a:spcBef>
              <a:spcAft>
                <a:spcPts val="60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xpected Timelin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09600" y="1447800"/>
            <a:ext cx="8171236" cy="891062"/>
            <a:chOff x="609600" y="2438401"/>
            <a:chExt cx="8171236" cy="891062"/>
          </a:xfrm>
        </p:grpSpPr>
        <p:sp>
          <p:nvSpPr>
            <p:cNvPr id="5" name="Rectangle 4"/>
            <p:cNvSpPr/>
            <p:nvPr/>
          </p:nvSpPr>
          <p:spPr>
            <a:xfrm>
              <a:off x="609600" y="2438401"/>
              <a:ext cx="1143000" cy="891062"/>
            </a:xfrm>
            <a:prstGeom prst="rect">
              <a:avLst/>
            </a:prstGeom>
            <a:solidFill>
              <a:schemeClr val="accent1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Jun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752600" y="2514600"/>
              <a:ext cx="702823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54330" indent="-285750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Analyze OPMI customer survey results </a:t>
              </a:r>
            </a:p>
            <a:p>
              <a:pPr marL="354330" indent="-285750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Develop program changes (base fare, trip subsidy, trip allocation, etc.)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609600" y="2781300"/>
            <a:ext cx="8171236" cy="891062"/>
            <a:chOff x="609600" y="3885933"/>
            <a:chExt cx="8171236" cy="891062"/>
          </a:xfrm>
        </p:grpSpPr>
        <p:sp>
          <p:nvSpPr>
            <p:cNvPr id="9" name="Rectangle 8"/>
            <p:cNvSpPr/>
            <p:nvPr/>
          </p:nvSpPr>
          <p:spPr>
            <a:xfrm>
              <a:off x="609600" y="3885933"/>
              <a:ext cx="1143000" cy="891062"/>
            </a:xfrm>
            <a:prstGeom prst="rect">
              <a:avLst/>
            </a:prstGeom>
            <a:solidFill>
              <a:schemeClr val="accent1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Summer – Fall 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752600" y="3962132"/>
              <a:ext cx="702823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54330" indent="-285750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Implement TNC-TRAC integration once TRAC has been stabilized</a:t>
              </a:r>
            </a:p>
            <a:p>
              <a:pPr marL="354330" indent="-285750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Design and implement Pilot 2.0 utilizing customer and Taskforce input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609600" y="4114800"/>
            <a:ext cx="8171236" cy="891062"/>
            <a:chOff x="609600" y="5105401"/>
            <a:chExt cx="8171236" cy="891062"/>
          </a:xfrm>
        </p:grpSpPr>
        <p:sp>
          <p:nvSpPr>
            <p:cNvPr id="12" name="Rectangle 11"/>
            <p:cNvSpPr/>
            <p:nvPr/>
          </p:nvSpPr>
          <p:spPr>
            <a:xfrm>
              <a:off x="609600" y="5105401"/>
              <a:ext cx="1143000" cy="891062"/>
            </a:xfrm>
            <a:prstGeom prst="rect">
              <a:avLst/>
            </a:prstGeom>
            <a:solidFill>
              <a:schemeClr val="accent1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/>
                <a:t>Fall and Beyond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752600" y="5181600"/>
              <a:ext cx="702823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54330" indent="-285750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Assess impact of changes on customer mobility and overall savings</a:t>
              </a:r>
            </a:p>
            <a:p>
              <a:pPr marL="354330" indent="-285750"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Make continuous improvements and changes to servi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351225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414765" y="3167390"/>
            <a:ext cx="83144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 algn="ctr">
              <a:spcBef>
                <a:spcPts val="1200"/>
              </a:spcBef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2598265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  <p:tag name="BACKGROUNDINTENSITY" val="LIGHT"/>
  <p:tag name="BACKGROUNDCOLOR" val="1677721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a/oXf5nEOUIpDbBiyeHXG3i5BAQdDCvJ+HYQ6g04TLMcbm87/GhrKCPsQL5d1QZiPJ+WZ4K55PH7chTD8NtEK0tOiL0uUveGHIUT9VBeTqgSHz6GnwXO6EnPV5cjSt+Bnt+62hsMZHNj4ZihXRcgriS87Aj7BSziIqdj/AQqBWT+E37AQz+/58mLB5ycOpSiEaUwTg7PSjxE7MLmlvlYScMGh9fbvUdw6LeTt2m/nJI9pVD3egRu7LJdsYz+aK2gheVu6YtIFXQd83qm+keKPdCEYaZmfqKfzxhDHlZxF0AACKIJrNPt9ESxLchT2opZw8Z9leAp5AAukSKZtmVNI+j29u150vdQiPWvZDFjkbvyPEg83/aJre2pRMcMg+QxMjhF+4OR8QRh4sIG+nhWFA8HRipIChqVS5b3FCH4TW+6igphQkdXG3lC9ccaHAlc7JX9q1boMFwGZd1JFjsF+xgNpTWoE3zSEr84/uprxkYHzk2TiGW+AZbqCNcjPLNTr7DkzZbHzuEVYmQKWH4JAzfGHASyu+KWxaBz3rEcvwIfeuqlVS+QzNNh+SLfL+xTcvIt66KkXdPBxs4C9SewCUkvcRRJMh58v7eLsHVU74DEtx6cbvFxhz1THAweG19dYLmzsBPFaCTwCdCaWbFX9XCI8zrG+7WyLB0vEA7xCR17b3HNDBkUPiziw2UYjmCUcoSJxZp8A+JTUYNCkUz+9qo2oAXCJYmbUl1h+ARiLaJ/tEbylxhFxLXt4POJ/9Rvz2khV+8bC1OpSoBMsqE1dj1VyL6cQv2Hp2EOZm7CZhmbJRzbPrq49oO/yJxQsa8FgN2KNGqmOS3VuwKkblk9+i+V7yJ6Ty/pEH+e6eBMjCj6n/P+tx8DiUY4htE1JPh7Gn9xniWfPWz4FjsKZ3gG0uXjmR6OLDt1zy1aVf84wH0gz8cLwG2IijZDkdB3iuiL2RHM7deBNnJFSmhq0kayD8632jorAntTUX61J/N/vJ9jMzRrNhA6iaOUdGvjGGQDhE5VuXK+XjYkHPUDyakvq3OPDW9Jgc7hfW0+Kvp3eI8fZ73cb7f6VVOMuxkAjfHs+4w9oqYTPAXOZgj0lncugMX39H5YYI5d0s1vNsEKSVSincG9scU8r6iaKYyN3BLLWt2csAfaxgn+pmDlCdc2kzCz7Z8JPspX3Z2+ozFXnDAlThXH7cna5nBDAIYwnrgUjtsnBmF8qTqEgQHmz8I45i8FFWoXsTSgYv/d8Yl4maOtqWQ/9CWHzcqEFFXExSK1uin1CRFogKc2H9uZOdLpugVYyNiGDeLXHgFTZu0sVd0bHccS67lhF5yOyHAtATjFztseJOAQiLQDMZLGR0qn8+2JEZLT/M07WdjmM6Jj9QzAVKKNxGXz+82WJc+cEG3MX6BK/IHMXopvel8UNA5u0mhLyNyC0X4gvvjWjwTEfs7r28mXjzCi1nU0E1K8JjwdLN6Qr5mQRSDqsTYF1UZf0xgyrkD5pTO1iASLZgP7ivYMqLnv3CV1CAxli+IffDFdoEe7aVP6J8i+dsGtJXQvtoW73tX7jC611sWli2Qnh/chkJt9QhenT4xB5x7OdAzT9WMo+TzlGuYb2BN9U5JZM3/UqnD7Kh5hB01pSGMqRo9RLL+eUIgA1SL8p8IkTKM+0lbavJDBgozVzK7Rt779iZgehxn+9T9qrATokPl8ULi5XMq30MItqeQ2dpg+1GP2I+PBPArs0n3vGd0HCNVIdAWx2cFFeJtWra/s0epp4+LHzrEjsmTeEvbuniY/K9+rwbs2vqav7t4/M1Z2L+SgMWd7hB5rdfpEvf+C8BM8TTRlsc2or+nryHUvgA+Wyr0J+J91g/L/5qh2YkypAghmMusKxY1KuMrPObay4eI0+PGsIRESgvdhmeqGBUb6Io311c4OiUC+bkAdzAxGcyk70QpkGsGnXXBw6F8qN4q6IVgxheLfDamSbH57v3DCcxEkS93Oyvjtb+MTnu2/FjcVvzstYnxiAwQxg50FVfdv3/oPOOKR0jL5LqodooVGSi4+BrqGWDcaoasVFls/cyO+Td/sAWBDKiObxe54tF0OfWwFXxoh52/mWm5o8ArQR9bDmf7vXMw5KKco8Mz3zjDDUxGBar3Zn3A2+UAS03XbKT6FaE6kgzWJCYqbHK3sWkKRM4NvgJStQ0OkcC2K16/WAwoDcHNO57zgEkGcdfisRoFMo/Y6Zkaf8bBCj66XsQgAYjp+HiInzt0Q3LREdfvY6BkBTe24a1pNzudkOeHoQzyTTVO6YvVbHludFMh7seSwoUcmwdXOcBp37MgXCmzoJqAw7tc5rcqUTjqjgUKBb4LYN/FGtN0aLBwZgsbiyGErLJxQUYWx1hwU/lPZKnrSMWMsucZAs91h8lOYatdQRvcjbXrxvqEj3IDLlP3O/Py2qJCosWGQY9mYG8UFNlPrDEr3zxkQd6StGu6ek2tQ+beuawxjreqhb/O+fbdjv+py21Hap+x1IuKmTLa0EmggGTgRaYg81jVEGp5YIbQ2FoHtClIjrB37o4ziw35hUZsELR7z9EgGftVcu33cynUvo2HydLyDWg7yAkuhM6EOwllC8h8tl2DNIFSoumZWlY5vaDG9kgfdSBFAz7wj1+D3EPpKaHwo6IK508bsxygSh59LkpjIex21xNXhXN5CwhFSpbHPaf+RZvVi3obSzJUsXoSNQnz1a1ZOpB4IB30o3c21/sy4BzlL/Lfc9YYU9gBEboduUjs64kO+JaMnNf17kKqt2N1V32HJ5nimhYFuzXF+BNt1+64ZCayhhQ1q3v0wt71NO/EvIqQrA+LjnwLdsuCQRUtz0u5rsBO/1NYirVse6H9LkFyBrq4B1xd8yWZYhq8IuM/khQmE9v79zfenjxmH/ZU/nIO9vYE5/kaYsy2goJTODUfOqjO+Lc0kAz6p/uZwUf5jvWKzbQRSK5fzXwcIBO5WanLDG3tnkZF7SROOab3wo4d21yrfGRyJST1QHtgoQ6x1DejvNUcvl0+PRLZ9PIE0uecgyoGbRbGlypT+hi9bPqlvmAU8CSFAsURA+N4Zq/Pj8p3Y4uPXlEtU52Xh/AE2KkA6VNNuuffHvSe0hAlBJstI3kTpBkXYdE+nJqOBBUxvGotA4tF80UdPT0E0ed/iusggdp2OoMpWpN2XoMZSFM15EI0mcFy3hW4vq30jQ+l0xeidEgwcJT1nMA27yQsIouWRmna3+HpF5g22pP+NQOb0VWekLFfFw0Ux0V7x48KUTOzb3jLI2N6/KTbDWLieVLP0AT0Djpyy1l7vsXDGVENUF/jCdsQFi4L/Oz7I+05E0/LPfp5UNCMIB9VN4LdvFSrgpK59nCRbv1RWqTvRffmu/RM//1C7R8Gz6CVUXyoF1vTkdyNRWpvn4HYee8cQvGah79Y6aHSAl6r7CShP84296jUo9b5ttpn/p2z6NqotMj0Q7iEcvXL17X3maAXMB+gPSFyWePULhl4ZFb/XCzMNXCiC8YZo86UNxiMVXyzijv+zfHL3EarnTcWdtm0K/q1uHc48I4knCtcE9i+Rbf5MLzw4wNyZIXsEv9s1ACS1dS2FN3rIbAdSYePrtOVp/Oao0hg17s/skfLkrG90ZWAfPY1fOs5od43DfeaIN9Mdx69pxUnKduXNl25FQ715dMBcPLat2PKgMR3kW0mHqckLvbcdW51AonDZQD1rpPzXLKJlrzWcod2g2RwMjE9UKQVjF6KzgfPEzfcBVmVs65khm7GSMk+M2wiqz9yyHFRNd1sjnuuBmadTb56ZpSl3D8MwbvA7OZQkUMBgwyMDVY51XzquvUcBNnJG1BBpjbWee0Kjxxemkzw64WkwB+2EWm3Rdw95J0Tv+Uzp0hF4l8uKJRQtP9980l0YwZ5TvMhTt0mGYwVUXubg8pk/apocU1pqTX2SzJJJ+f6wccKksUbQMIeZ1THS01yHmoY8eSPl3+q8nNrKoH+WNkeooPhhypUl3c3VAOUnMxi28yvElS8bu/2R27b5CmaY7MryFs+QnfUboPna0uq5NHH/LtaoJQLyCrU2WPDWTepB1hNlZ8FyulFJ9RuMZjMUEIb0vCvr4z+/6KOp1aBj/W7LHZ/W0Ox6rufeBi7WTmf8dpESen63UM8SmKrjBEKXzOibig7rDOy8+d4LN7wbspxfz8dQmhD34hCDAKgjHhfEjF1aSDZty09R7DqL4RDwGjHU9SGEHxgpJixQc9G0hnzy4UR3T+uxSI3UzmlOtoq/V4WfNrDurPSkzPXDqNpdw6tGVXYPmjH4Y6Iyp3/mvMGmyeHdQyUgV5R59FtQIOT6KOd09NPs4j5iDzi8EL+Mg+r6JFgj9NM8GpopRVNNfy07vra3SagALceLc9hdNM1CWQkZVZuxncQkXZcvUSUa1xyJJPTAkNs/lMY7w8gs3UezFy59mdui+cncUHDtTNIR7X5Ao+27mZM31qmoD3LeCy1odpiJPhSBsR2qjvSMl5xa0qD7ColNelyz6lXFjboEYks6gQCoH/HnCOPsnTUrfxoVw+4GjEYTIc3Q1FuGl4GnrzpDU58DbwdYqmkBIDiLcgGYJoPORZIE3ON+pvZAfZxLNNQbin8L2A+cImuMd0GKkx/48SUYzW+1KRLEBWg5gOO45icDfAAyD5rcsKdEw+EekpGKNC+aUCiWTRCyOS/002WiKziOrVkNAS5VadaOs8csUrvia+cbfaFzQOCtSFGB0kpU2LFxwSx/SUEDml7vzlhfdCOYsDxby5SEymdXsjLXa5EkLt4sFx0PcIRRrmHM7wVHh5ipj/5FBRL1EnyKa6h/90JjTWIzoDKV5+7qZP/X7o7kID2EfxdV/sETFUuykJhrKOSTFNkFdZwzEUMzv0RmihQafTUr0gnjqL4b9eDVjnOSMz9iUR7yt7YdF2K17/CcO2+4EqX+eymNG5YgIiW07aYvPKintiQJMJJB+8c4z6jw65juvLbEWLxzpLfKotYnKpz1JsZOV9BB5xkSrRr582v9ENg2OsD71P6vvI2h672ybpM1vvkaqcLuyVeYh9pSlZn9LIKW1u3uunKcnLmcUb0x7yZrNG2q1e5yFD4fCWnSVo5FIEucdY9qY5tiwUHEGb4k8+JJLCaRNY9OI3n4fFN+vT50/8hkILNyRb4EEiQGe0HXm+7X78kyB8U3R8c7BcS+yOFkYPj7liU7i1znR4L/o4KfyshN7VD230owd29magBeR5oFnpzVVRbPoMb/E4Ak/R265u0awQWzLiB/LyPbG+PXOFFW0Ox+b81s664gMtftaY/TTxSOjerQ3rQp/QYWBusAB4w6qErNuI3he6P6YUtr6ksb1RpXLAo9sJn9NIOwj/rfs9EylQW+KOvM2wO+hQKxJpxAeNZb0WASjdq/jTiyVdOXp8qXdxTGzZCTTe4g30aam/mVnnk6CWtYq7ahwU0j84nkN7WY/2PJU0PNNSgXn86SnKsi77jCG+YoQ6ztwLI7y0hFvAG0iOV2bJFwKptXfky02aM+qH7/curfhmBFaGiO8fXNUoV/KPj/YT2JPZ+PNrDJVNUOxlsCzByHBoxLiMjTPO+fweHnAYbwBrF6zNWAS+wuSHqOTD9E6G7kUzAHbky/QKIquspx97k82+CA4c0NHaVn7iuVMuUeMI6NpKYfnPgx79hmsw932Jprt5aTLvnVtV5Y+4ZVENzLmn2SPygfVF9/PC3ZyNUxnJuqz0kptEX4SAG5e/Xe6TzCTCQ4fKcjGhY1Foqke6FFx6x3ZxpPOWgIbJnyWlpZyPjAOwWwe1wKH8gmc9BWJ12iWrs4Sn+Nwb0J06CffwyoBBau+pQcoLFR23PJQgsiRtgMe+guRSAXwM8BUzA68DBXSsGNGelsDqR4LlyrtvsdY/bi+abrvEWtT9X6+TFLyQaxc660S4F2OV3E7u2SLlM26fS7GEAZMPEC3bQ6A+djtR4Q5YTFOO8Ttjjp9Ne4afvjk+n8yu9dPvyg2B3iNnvxfi7xZta683b4CJAXhqZHMD29L0n7PmDR1XOogkLR03OBjBATw4FHW1+1wfT3HKiC/ND59/sfDcRaR3WTrOCwUbVwZrxsdalcfzya8WlZO3JPLJakAGliccyOkAV+Uuen/Z4KqqNXn6/RXPugnIza5JTHEUwx6LweZ4erHdnlbF4sHFXaPe0EDHSxTioFDUH10TTavWkQdRcUJrqdzVmY63QAWxt0YzdJus3SpKFPHTkKdboiLQaaJFy1I/w+HwiyRjHQmUkT8s6Xfv5o9sDsnjDaL8CUAB/A1wyDz3gJN1iIYrziPQBlGFDqYkiD2GHE77qqLNxO2q4oe8A0bYU6PU03CuDqO7cHIGGonsRfBf4R8SSzJVbqkfymfp4DGPQqXhy2J9k3lJpUEmIx9kW2MxZHo4YUUYAPQEV+MaxOCCdXcMvoobZWy2ZNfmHB+IFYHtz+V1ykrTPEgPOpewx9e6N1ge4D88uNHEG/MDQpvFrXjThmejkIJbZDnINqUPZ7N7s/fNuaBRav/Bca0+inRTDduwXg6i+27fKdIRFTym3Hs5KjSTK9x1j+rMtNNlX/MaTAVSzr5BOVzFXZx0SYumbiEqQVPQYqGEistpkvDviSWCULOeLVR24e9e1KQrVDiIYz/Dei8xHhkRnG5KizCnYkCbr/kDptL+RQLGFjVPA/2FUwQeX4SN23UiiBqMn/E/4Koiv3x0flPG2mMPu4eG0Rifwclwpr+ia66dqpJck7jGAZE1g1E6X60momwUw2M7V2Lxgwahengg9NbO+Be0wsDQtSahY585lStlk/FRJ8kYvFXIn+c0PkprMnMEZf/byftgziDgJ952iQDO+j5MWt2QgnyMXLC/1v0Zqk4TRf2rFbStCpzoQk0eSQwAsdn+5IgpJyU1vGCVVu+pP57P0DhUieQnkFZZnrVkMUxTu7wgrPJZGFZC1pp6ozfjSioz30y7BMHWqhgcd4pOoXC84WRqaFX5/ZBk/9iQ6P34p9hsOAT8BCjZMy5jBJCye8JxzIxJB9MP82vdFDJBzxzQSKiBIUeEHWbgUohQYGggOTOKMiL7seFSCOl+3L4tjNj55TQ0jXZ2ftpMMLfoeCDo3mhnGswos8vRnTozvlao3or+QeRO49OaX+hgD3fNc7nqevpeVpnZ9zoCzlJnB+/HsA5Qd9NfPrRXARv6Rooi1W/P+Sc0iRwuPp2GEEu7k99wYREH7DrBR8cWNpLgkU/6/2Vd/ElET/6W8ql41Wtdqu0SoNkflEYvhe+xKMgQGfCsanwj5yF60nlpoN6hNRhxQqEIH/Ag41PAbITONpMHKILq/RIlXU/pG2efdDYVVKfsU1Iu+5LxsO6YmsdWWIil96DY1E7fYecD6pMPoWs0WYspfKqZ8MMRRf01FK38qbnK4d3Niqb58uH+y62TI63rQmo2WfES2lrtk/WRkDTCQZJ2CChqib385V9Z0/5gKsQQHDfV6xbrLX6QjAxDP3adQDY0sBUH+u16UFPwFyrlXmIlqfBH4xKV3dwggi6h9jKa5LGifeW+JT8Jq7IJZH5vZosVeH/BxkzYM9JVWs0a0k8Bt4+UWl2pBj1es0nP/T0mzebx2w7F+O8o5KQ6FbNTiQvwfuRwh78Up/uigpTYWgN1qm5oKheJaCXBpNrfeC7Ni3KL0uST2sTgCVqj/1lt6PXpXTDwXoCbbpGNeXXme18VdENxZ+sPpMbWRtzWS7U+phIL09q7NGKLnGQhCiZp2uuSEhAkSmraYWnhX5YKAgt0SuMimIcDJe6y3OyxxMT4jYroZeAQ83U7jrkI0QpjUL91rJPvAbQr8LQlPUiHEmJcCbdKj7+sOpjegbjpEvOlaOB77LCieL+0fnIY5DDAf09TVK1xgdZx2OwRnLr9gSd05CvbttlAtSvOra0W9PKoHpG3ufFuPq6Kve5j9QDDYwK4+o3fIQBCyGwIdxbkB33dnu/xI5DreM3V9Ro/wetOSlHLpeLRcg4LEvLhEZ/NjxbLwP3cLqVgkhCNiH8BB3FMp8dihabnfYMixeFeVgTbG4mlUB3MWeS4Myg7R04AS2kYLh+PSIcWBwcXxl0G371MVzY+/Sn2wnMsNAs8d7TnHY06eVQMIW17wAR76/7Nfzhn+PzdDcGLUN1pZGcNl+TyfRvzFT2uv7SOKVFOkOM/A9b+PgXJVsqWUQnCnqNbxHR2R6163A+MUtbyeFktpRA6LG+sphoPTbKjorP7YSl3wZvxcgnjdIY/LDYv0Dtnh/HrF/PRmJtLPY93Y+zeSVP29yTsimjmt81lojNYl2C16uv+foU/IWoc0gxE+MByMo+YPE9bP4AprvSefE8IVEgNjyJsqQm5sZ4Dg+Doz9PM9osaI1hhflOXenblLTf5behiTe0kPWzGACrkSKEPfdb1+Mgnhc010kkTq2i9nzBgGGdKe0Yzyh+tzw2NmoxrVf3iw288PuGJJ/1AQLHffn6rTulmMhrdXGCXJa9tLBeDOIXYBSTvFIpdqPwoQIGTGUL6XlZGWFg6l/9GxYAJARZful3Hkj6Y9DUILNnO5k99wHjyej+vwut//+0n8ip+Ni/MyYqscP/PP3jfTVAngkdGIG/boFXhEREhzUKbc511/uJSqSMEcl9l0DphzmESv8IAS5zi0HyWk+KPm0Be+WCbclUDq4KYnj5r38b0dKg5lps+P9l1bfvfOt+4SgyiQvvAMTwTVsaZM6/xlL8SgRPREEw5ub//Vjqcq6F2+TQyOLpCLTC5OpG6ysrhvVVcPxbkuLVPY/4VZw3u8g/vnwAZoYGMK2II+XRIAF6BW9jxa8owekwzdwZmaRaAUF5bbRfSgsyWBjlrdSG/1bN0vSgBddHwzEQIhLPNhPujpVDg1sNGFtwpIXyXnehQAkT5IS9NGxlH3S4ZtrIPMizBmA18XouPqCMk3TqOFOpVp32JKDtHoPbN2XecbBOMliaCF0/w27XVi5gmGd0DSRM7B5U8lEaboH2b7TZ/lD5kJBQyICaKN9GG5S0PMqL1251MqnXsP6bbGxZSyjNtHy62wTRQOE20DEAmQBnGqAfSoNortmFereIcRG4DeV8y4HLngZeNdPu5B8PqJBPLhfF+nOrWfb4al1DsHmDnsmZn8/WyrDyiBavhYV13BYQlXpuFn03oe+nIIuBM8u1oucYuLATJsJ7cD4FBKC/gmx0Ml02qkWoA2HlpmiOBaATiVjMst0epG56HzidYc0HMCsi2GjKdM9QPyc2VGgpHU8LgDU5Z9CiHNc3gt0kk+MfYafUqJJVpmzMUjCDDTXB/gaCpYiAPwVZnXWpTioGvKAZz5J94HiX0ctHQQr2cNYDu3QmUgmmDlS8FXYQUaOaDxt/74R0MJpY2P4yctPag3EAhEsixvtRPuBdwNz8oVehHdphwCdl2hv5RSAl/NgH+os4z9mbWYxDrnvZRMMvU88o1366l2dTcX8IuuZ72RtQRTqdSDbi7fVn471MQ24MF+aKsE1rrbulHPzx8lLUnVOBQD1rEAAtawuD7gfRnppRZUOxIOAyR9++OlDNefFKKGeXmklHGUubyzBrni0hrshVKpScBR9pzPu3ExlbCbYi5hUIoPQ+uxRgqNHLMwKImqFrNWC4ypWNCGvS9wcD2xK7KwygbOR9EROzHC6W4LEDbA5yazCIw0e4J4MYCt9aEw33kd4AfcI0dyOPqVsZkJrb7OtmciJR28QMG1gk7xFJYygEOYSFt3ilxiyXipgC8HHepGLg/hn9VD4zQMYgFtR1j+wgwOIwVTEBf6K97qro1DqwRdjrwTSbwASOGlKAkAfJeWIy7PPXPvSF4WKw3SqJClgvg5PJ5qmk3OuZRXolq2Me9UNbp7vhLa4CHwShJ/n3jBiYL3zaL/q2JlStXFibxHcM+S028xelo62mrn5SOAy8454UimUvwS4JohscICNrm5fT3j2vvXK1H3f7sq2CtdbnX4YoVYEs+Us4nLXPCpMeijJ3IwSQjUVJ6hcGy0VbfmRO9/Z6hUZt+3ES4BKDqKxviwhgZ/U68oXunNm4uDxisavo+nqY/I64m8Qax+zAAaxsUw1OL4CoBZvIFSYoWmUzCXeDIBsmc7BeUkBabr7H+AoRimszbhtuxa3DQqyNsa3ZF5ZOo23tbxor46vGwdREoz+IeaBmP/IVtAcQTK/ewzjqyZDWIxpgiJAsi/lw+rcFYpGJlxQ0YGDqCv7pVgZ8x1S8i1XwYWxcWBD+7EcnGV0pO2MPWavj5i4ApLSdigHHQuu6jeq8ptRa+AO1SLc3YAYUT+R9cbs5wZyPyX9k79dgDIro9Q+6Rpp5iAKZGpSAyq1kZ3P23jZF50TsklsNrLfM5XwDP763nT6jJUXxPMpuGEIFnov7YA96xThflyJjvWsoeOn5G6BhjNglIwczzA3uVOn/agIfPBobb2qBDHu/6kj+m3uxaDygWH6y9zGL4daT97q3J0N+1tBAIGN5Q5QjqK0t4anDGmds4kC4g6qtR+Ka0E4vo/h/9RM65ebw54y7/5FBzLcM9zFqvxknszofu4AUcwWNXey9MBUZ5vA7ouGQBZvKqpZuzBqtc3XD9X/6p/odIYhoAoVbWTed6hhDKLnNE4g/SHYRBhIkxiQzfzbZNTvgH3T6duwTrGioD0i5Z7qNTgZXOEBB2V8fMvBtLNRznSmaV2Yhs58z+WjYW3yHRLiSyTmQfO6DHePXLKzGjdIH3nHYf6CPpn5S0pLtWc6CXCyoyjEuulHg0gvQxv8yqk3fHyf+w1pObM0/+ggGGNe+LNALdz+82YA8Pk/AbGsUJWF83uwJ+ZeVVw2U/Dn4095BPBd/TKx0zmOTorF3TTtiHOP0XGg34gkUZTsk4LekCGPkDuSgBA8m31IQQjW/iTfRqnZeh+VOGL+ZHaIm58hl9WqoUzIol6GBRucffVylXfVdmfDxpHmSs5H1VR/B2TEBnVqS4Lh8BdVaXEmcrxh6yl/RmIynepky1YXsOswskAF83dCHkO6kOVOk8uN9skFyeUeaLL4ifl47+Zs7r+aTsaZPHm2A4ZYsFHt0kROfGHvtwQF+2U+8FBV02OJaoegX59LZZkfuBtS3Np7SUM0cPsT1iCJzK7TpbWZcAxKtvdfVeg0CaqbPxhjJ6BLVfKn6oB0j0EpzudKX3vJeF4Gk1rg4djazo/BICYnnpOKx0PCxXgPr7WwnJBEZyZJnNggfyoMrP1dISrABaqGBjLXF8QrTfkP0Ipp1FL89VgibV0ZUqvwTCQqPGCVOCACd6z08gsKlnHNtrcDp2C/aPWSE+xKDYh3LzZCKQS72JDsRmmx1qMlEDT7tUPi1FxxFlA+pSXKGY5pWUgDoV3q9KKw52vEB3MkSeRJyANSeBK9dp4lRJfWNTKdg10TkOmRawZj7HH+/t9fF5RJZziYv2kNLVGnqnEyomWK8OToLEmgS+aisIfxVSUoDCbhOqu4GkvIMj23V8an6yPtVtyKs8k2lCH0nSvfMY5tC9wS79S1VnI6HWa77qMJjMgRYGVc/V1FvbRE/YlZcCkpPQhy6BtBj7SLoeSLkCJk/LcKasSDaVXCoOXHsLyK5BUgjtn7awnBvNkxw4vRWpqAjMsmnTJUYyezbhJU1H1CTlyaafWprFUx3EsMIl2TXr+kEjUW/tnQLX8xTTCX+Yuph3lO+k+oCD9lNEYTngpWwfAkP3razYoTACV2EEjWILuWpJnf2WXLeTRp2MuNmOAlG7qqsfJv2RqMpePEUvWnVQntdBarK7QhVwYGb5Lat9OYl2CEH9sSA0TOYLnto3PbcfF+VcAGQFwSU8WEdfllEiIAUSEjdsExg9yHs4HE20/SK6dsSWPRQpS66zzxEwR9qz2K8fKGNpZ/6Upj2GkHpcMq79wNFZSECB9mUQMqzU/lSQJEYUpudlvEXHT8nkaERxccamhRuHuCKw6/dDL9srvbCCA6fAMaZvsQZx6xKjuBUA0NE/RBy76d6biq0R1A0lMiVkg1JDpRfVFH7Bhub0r4Eqo0h9ob30UE8k6OclBDpt8l/sIRQYTgAkjLaJUrQMKy5mTJSTW8OnYzej+5u81OtvOOWLyAEd9J45PVD33q6lEdwm6GcGd67B7nWNrClQsd0oDqQi91vG2EHIseOdwhhXmwvj6UmGEmEJf7Gk4o0jfbHpImyJWi536EOHmfZwVtaEntZNROFWBnFZIDbMb6rb1ghyvH0tznO9f/m9+7B/2Fa2XY0zqfcUdS53gEV5cWQ1voDpOqcFEwaepy/c5aAgIwb/bpHmx6uiIn77OiC33WrbLv1GsuNZ7ANJd41VW4nJSMd59uJMGzpiCROeD278rVKr7NIlk0iB40F5hucdMqrghXsfOi9pZkVyLOlUZo4yVW/VHNSJZDDyEsw8PLsKMUq/egHpywTgacJuLwQM4U6fvCEkBp0WTPy5srzBgP5umvkELO+OXpDC4ua/izjmHc27ehG45qpghNAfnnGkxnjW4qQxWEOV7FI237Md8eA4Kvdc4zyEIF+n4wZfi4PSaAG8Ylqen93PsWWYLizNzSHQcLrdf6zwU99tI3xG1Od1mLfPQwqK1F4sKcQLn0KNbmwDZ+h3QULNQpWUwCAavX3plaaoLaXOt+23Ekh8fwc55uHW6BOnBumOqw3ib82qpaxggBxB3caA8cMTdwziyFHxSVscqqYpfwtQWIGMVsDJTiWdm5ncH8SxDdBc5ygMzASX8Og6BDKjyaM+QlHRnkH/S9KPRg7OQpMzlnmVo66iugtK3p/Kjk01nCo4UqXnhlQP4bVidss6p45SFMQAOcNqG6389K7nqCx1ijMfGetvdDeFO4+WixJLgSwschVxO+DcwA8WMvZyhFWgOmlSO502mUwyG31y/5ZnBvzjYV2Y+ROO+1QqYnJjUckfzBkdYPGcWjYtNhPWD+mGpoTw/VB5gJJuYXspbAXne/Kwius/RE9HPNSX7wCSn43BXVYv+svEUvdWFV1pKF/xsRPY+zxWYNsbRbnQJ27FRXVcJhup1VaLGhNyMRrwKfgZBWJhtZcFdAhPYWLIcN0bPPEo6sUO+l0KrUC1LVQ7FVn250IBF5eC1CgeLxk6lV36hh0h4e1d1ADklCFlZT0rmKSKS1aKvG2/Apjbjut7QCSwaKdzKtIvwj6FW0NLBcCIk8e/SAQwPiXVyFg1+4bnpIuZH5VkeyIWsXI2gDSWS4v10RpN7G0jWK2zb3WGzdaqPYZrnUG5iMg2sgHVarvn3sEiBTndUTBk3C0D0eSEfr3p8slUxS7R7SmvDRafXjtRrS5OAc/F1dVb0IbdYzRI8g8LN0GRBagIsIDeA9q7HBiet4+5rOu/I2MQ9voxQLMo544dQiycN1soVL+b8Wkau2B60Pkg8NljslxKZqEfFkOFcv+HGjKVaIrwikV/sfj9piwdBVzEnHbdLYK3vd0JFFC+6UMiVmDLe2VoCBYOvO62rDMWx9fgjlhd/g0I1TcXClZ8/gBzFxQcoNdsTyrYgBnYTNZ0FnYjiIZ6/lg4CezYAjMIgksPV4PDivuBEnRcmKswbwsAppOf9lXS8+8+9dJcZB50eKJICqIErKEYnwDyDyJ9xxQIoEUbYlghYCw4xuxk2E3NbRJODoPLbfDHLf4x4NebjtbRK3+5AfHe4l7yk51aE6Xccvh1quOOSFte7wFwAcLL3eUq85I7+EUqr6iAHBzbg6PzwnvnBDqJYBn/Zs7E+A39ux/GcglPOWDG3v3WFIGCTAem0YnUCfSXLi725ZM/8Sa85S/CeFAzwurwrU0+OluUwQ2trG6jdZO1oh4k8WOFPL10TCkcVokMwxNpLAJPfW54pOrNgkB/aLG0tJGGvbbsCNp56b8M3Qq3YXx5WB2nVvdS7a2FE4+RZI7ffKTHfahpj+SG4zaTFj15GPxItyFfMBm6R08mFBWubTN/W2N0VMtCbPdPAQkjmbkMduJIi3qRENj/U5Ya9jJy2KVMJIHdwE2ikaYpkPdVMD7PYTrpfSB3X3CJ/Cca8/xeN7Pa8guaEE8Io88G1g6L4t2JCOEy1sfZnpzqdfU+oQpqQLPbs237bZUcoeP5p3RiGjmBdQ42eXy5+oznkzigXPUxGdkmYEbWi6HoHEaA8f5Wdq9AS7QIX+ZSO9kuu8kfheOzOteeTnYZtVFgn9rGL556vdR9cpkbcb3/fp55VnpD5pRJvqLbjg+9r1+6RxKIjh9cXdN3cGq/sX2eHbBQcQE3ycgqj3K09L/NfHT8+faw5p+Gi7tifiW1/qj/531JDq/snvm99GF9Qw2qGAiAgN0wyqOszcoNA4gNxQOM/vXFgPpSQO4NzsESNqDoyYhbMfa/tKEEUnAjr3xP5v/N/ASg/U+wKkZsRInAhOAEC26spXK6/XwtGVUv57WC1tHxlKv5wzzo4ldGKz4XIJcvk8leZ/9gzFaocCnhY++ZHumla5jSFE6Bnj6edcCcxSV0G9kkSLiNwBv8CnFUCZhxWByMP2VquBKXg9NHE0bgtjymP23FpOJplXsmMUTeU/FL4xsomfoye38sRfiLTRJpLjfJmOtOnRpCR8qsluxslntBD014pcrvinpjAPYFXkdNLP7rLB4tHlMiCe5xzs6WCMuLg9OrrLDGIrCNwUvLo9yOawNtdKj2WSkYB+YDE85h3y7Cf0BBS5nvf9u7pmqglezoGgU6IMJ7Rcpa1vCty2P3X4I5j/7C7tbH++p3qzpyhn45iTmWIJJVUiHDYUyySqsnPcASJUuw2sUMqEjQxZ1CPd6USm2LLIUT+M6S2dxZvWovz75o438IiDNNFpg7cyAwqkVSrXN4G6hy27ODwzCNgct3zDAT6IWyzdgAvr7fx4/xzjN0jSHax1sRHKK953pXEJ13TCSflLSBTnIY0OBD4TahbnQaENDsz6SalrAlHAlOyD/eb+V4iB8EeZ3aEqdEAtedR/ORBDtVpgwTqwsvoekvhKmRKquuVR3+ewYzzDaacB7t0Urh6c+Z+ffbk8NZUHdBSIPsiQXxIiqvn6C7xp/GcB+rpcC1GOHDfQIJiHj9yMwBSlaaDFfHPL3gWlxewc/0bTxX3e+WShdY36eQZkWNRX2O7AzjcuLqWXFCuc7n6uqIzHgjwu3i38ygsKxd2pkV9zkOO6113URMNeOqMSk+a5tj7jgJpKnzk8fI1F5eVXXd9ComOm1edU46f7QuF7LoIBNuLBMqr7qaRO9i9X8BXWqHmXVG2+AQTI3l6ITsmoCcmZCoKID4TVxOiIUP++Xud6Gwa4O5NhrEnaQiFtPnoeKggoSsoo82PwsB80xLs9FUmuqKLLtEnMcM8Avmwp4Nm2RJjiG6Aipw3Z3iq0urhmoLunfNcfEb75geT/bsmD7RrjK0jYTHfLpDQGb4O8TKMc2JMsG4Vd6paxaFI9TLAGMcTUqd+fU8/du7SOL61U7zH9Ipw61aTb82TusRtARq/d3jCTo2Td8XJm7xSql3sySftaUaeWiZxmsLE8kO1bIdH9y3bC4J9e6uchNgITNxTKRaDA6L3R81s/R/mcpUwBXUEPvPkebbWBxbUBtHlABX1beMFt1xdUbSkWjwYz+FVSumwkmLFBs2N1w3kKEJIyg02Ez1ulzYzHW1QDwocQqms2B9IZYuJi+t6pc9ouoF2vFTIIU6f1ekF9BBdZptyzWzr/xTlFa2Ur9oBNxvmRram0LolBheA14cAH5wFEz8KQzOcKVJivi7ilZ2LfkGPONWlC43TfxHvzIY+AN6N+OChr0d1mphw6yRezVLF8le8QyR/WkQwpmpGm96YgAtlRth+ycfDsYfRfeISPcv+QTcjZWazH0oEN/KdQ0gbYcwyyMg22Z/cCHIV6vv4N9EyemHNM4HBOBij8jzIGvY//Jryi2jNJnCSvPm26ArwFq7GhVQsU7p/pbYMHrzw/xpG98Tjf/23o7ZMQtDhoSWmm0OyfTRm78iOA7U7EDcQkRyt88aB/zjrD3ep1je4lBDc5gIlZfPiN6l9j0GQ7tIhHcFSRu6bChqxaxrigRGsP8Nus10Ix5dyHogIGVkVkQlJMmiQ0XUMCptg8KC/yEZ2g5yHcM5md6yei4TW2jBoBD/W81W9r0hjNjlPE9MXZryhJfbp/T63rQ0S/zOfAT/7MJD/BH2bunwOoRun5z2i86dhmik6+sMESJZBdU+fSsLiWG6tC6NCuRh8Cd02QF/xDzue33wuEqY0Bq2uP4S9/KXkejssQkIuwIgCIvInvPq3dSm9so6KBIfVC7SZLttd5g3dK+cAKXgBMP2Ouqq8VizWTy0+B2Y2g1dJBFhg5zlSsuAU8iSkwnoF9MSxyJuqDX84VSdhCgVMwTJR3J7JpiBSqRfa6hhd5xsGJWruLF3fb6tNb7bBT5Spq3Rkn3SdqwR/hEz6eKYq+5aKfyDx2LmlYbcv0Q4qDtVJ2S0qn7ST3pdJn+TDpT1OsISEpzL6mkUIv4VuUZI2i+wn/uxa2XNg6oL+0hbmEHMiA5vtbEXN2Bt14I3Y1xrLCiA0Tm6WEjDc8+e7b+0xmQ4ZLnXld66aDWNn7jeubAmmBjsyjPO7i25j8J0v87R8b6LCcFMijMrrsU53ShgYmb9OFi/++F/oVwDjRdiAlq9cGfVriogI8pgf6eIrXMp1ryc+IoB0hivGqDtq48raNF57m9cVNPa6ECFOtoaYjdfkzvlGNQdWGOksNeZc7/Bo6BatfZZgazqh+UsXXEjL3x8f25FMY9QD9DqhGfF3V0DSSsgOFLJ8gfDI/qzUJhqQy8SDXReq7ivozbukrrEJJ42b3eSRBspuO33ITGejX1RnEtjU+n5uyz0r3I7tfAS+EPTZ+4YntX5uowg46ggAiz+L/X2hMjmMIdX2C8e5xXQandbBvNPhykjb2NTkqVnH/7fktsOlM81pMs5+WFvuTyqCiKe5kFyUCDSsIpMSTIyZxH/RpWZ4Y6qI5XRHMgtITcA/Kcjlb5jWjyZMLaP8f8PO5mT+WfHsLwhApFJxXof7g2NShmkKWa0qL9hr4QETLHqdQroGUE5uHiB3UlJNpKF622VPiR61RfYDDd0yYIaaQ8sRQGUDUb4PHwU4zyJoerrv8Ip0v7LplBr+BzSD7SbYPWkE+VQKzt2aF5yT0OGl66e7rtj8N8JLMa3BzqKrxnG2nmGhbUNvPe6+V98I1V8er0zdn0CSsBMRe+pbpOuwlD1eHIeWNh1PVw/fhlbVecNwLVWcfQN1Z1qES69Rpxly0acs0kCuCAVdVmyO/hPyGd9KuVphGmlMIVqgKAeNlpADDBWsr+cCWbpqEZxHPYOpZMjCZ71ey0LL6+2rG0c/2SXAoRV0k02+CWkH+jxIIc7s5EwtM5ZajNE4ZfeLHygI7/RAQhwBh0QvUdDY222Ruxxd7zkowSnnMh6Yl+UASKkxR74Q+brLBKOwiJ7vL8c+8JbwbzLX7tYaYpfMmKOoXEEaQVF0z4p6fowMw8HrrECmxWAeR/y9l4xu6+kc2sGNYjplfJQykYWJlojh/QLVmzeIdQ/7RvMwRzZcewsoyr4f76V1yVgSuCHLVZfNH1hqIllW+cEaaYmmuGFpehMYeTfN2TajBkGivqjDs5tA8T+WP6kqnOTnA85Ib02moshyS5CJ4BNkVK49rvEIQ0LjrOVwAEitix+QhXk2ZF9cFxziu2XtEwxyXqYu506y0TPvUK9BUFQwUovK9X+gzFnEGIMblKeL0EQtFEzMSWOPMaA0SsB8+uSbL9ve3kEnZeNE/V6E96AU/V2KgPF1ORQIRAPD2c+ZbYqPWwhV3N1/D5ZpaKjtgXTtvrnwJGBez1m4alegINRWvrI3rnnANeLqAdcHra6tiOErQUVN3XzGNpH8K7TI7lrKfUzP6wnAltDN3GE2RwLksSYEf+S3+mtI/G/M/JS9xA9CTOkAv9httE9N2z6m5e0/GFfa5SOivt6CWpIh9tZSjLm3Kn6fDlX3LV4OZBbXuQiOWr6oYK8WWt/ebIiIP94vguu89BJAU5U3BX35FsjYfJmShwXcTpE0SN7SCwWK3IZlovJXS0VsfFoWPlbFYA9M6ACdpfWSXcLDwxhTfYcHoOQ9vAcVcdud90hRZyZFBMNR3M6mjeCzvu/K7n8uCxC3f3oOsm6d2dtahxr4w6tNF/xN/BvRLvVq0g492IMs/o05AKLfLRnsDP1wio5t5tnet8Q2lIA1DktglXKgUyGeyNHTSAtM370VhyfDxXFuJLdFcCnjZfKgjpWXlsy9hKJP/thZH7VSpOTC4KjzvyD5gheRvFkgyeVHZtl37M8+FR3BRHjcOUBNb5nX14BiQJaIQue7bNwNAlZXAHf7KH1FKcrB6cyVaPYXnL392zoi4bBupYLTG1TjaS8o5smockEue7BwfxhGxYATCtzAjq2TcmsrJP8g724CrlLRHI4QxSRnqZyGgSKP2n7RggR5rKKGhkaxKU/m+/DSN9d1tAClsnR/zAsnca3ioa45VnLBH7b3AcI87LfekzNEyiTaKZkYCLUP6PohaF6bGNT3sYoo+HgkRNK+k3f5wgNguTZeY91ABaQRY0VnfvEChFgQWFJQuqFkpemniE2z7Orujf/5Dfyp1YXvsTWrO9wlp8h0U4RqkN2pQhDkw/FSDZfEAV8PPO+dW3+aAj+EEW9VbwVj3/34lMbMdOvExtKPTxbMqPfsy0Elr9dCl212aggSGr1dE7c8Wz+qxiGKf8HD4WPKriu5sh7msmVi3zZYt/xO5NG346DjQCU/pNEkyFwU8wgMLQfGn1jr7FRpHxGQ/piPq3iBKDRLxRqC2HOm1cX9wXAeV7WXT+xWBdgmOgXuqcOa1iKykiiStmO9WGE3cfAYbwbDfin0E8FMiOdYcaTO38wuhGvqH4ZnyeWSZRzdL8chns0XJTNVSGdkKUNC/AAL+6uCLdai5qY7isUZhod3WOhcVEKlacUNRvnA3vq4+d7Cvxw58bs+mC0N6spS3m+5axS0+KMEKXajpY43b/hBIun5NGDH+SyU8b/mrq4GowE2QmekFzSB+gQ07O5JKytCD0LS08kyWxrlsL8cjm83zeULoRg2tNW01hTVEG0XfKyKDj41b0fVAQBU35BGvEQ5MjssaWvGp2RY7hhOjEqnv1DUwPZ0bvv9Ir0Q9wFv2GH68bs9/bhDoLgvi2RChaCIJqOlvWa2VzY7sUptq0MIWh10MZUPz6Y0JQNX/cSqG8ajoTekg70jFP1sPVVvjOZ6+PI5qoUucB1sryC6iSBL55MndKEHMv9IvSHwaLGViRJda4lE8tps48h1C8DDU1wBGlc8wnqeh+vs8qIXulYe4QiVB9YrZStBsqS58zl46To/ZgEOC6Uu3acT2tr48eYIioKxsG5FILJlrevT2m3PQf4Ez/VaEptBE07fBhkZQVZLkR1Xkn0ruetYTuVMKm0WNjGAcKGcnG8bKjBlyyWYza33bYgUlJNVJULuvvorWBQOIc3ckIlnPrgJ1Yfy7qYP4rvoTSJNoN6K0sHuSiByygUofY1AtWOWi4bkAS5aqK7ztYNVM/IRJGrpV052JNzIPkhj+602jZj4EZxnEWnmnCnNFBSG1aicPVwoAVUgePF587spoylgDUwehBbFk6vIjp+jzFa7ghj3HzE4drR9EHubYDdywjhdNgQa4KP/CSdRlThYJeM52cf4bn1CSYqju/68rkz3b3kVUsCecST2zwYLNOaD6c1WKDrSJF07xthVS9zvv0ATdn5dJEGiJpH/BGFm3zZje46ABeOhGMCCRuqypWC41BryJRhYGxlrgACbKhOIVwS2g+twrcrwJEMpqFOOfCEF2HOO6fQ3ks6tbgFKp48wGka8uZrLMfF+ipCa3/UyRO7TLTgCvSRPDlfAR8y4n6e+RwRlQVLgP5qehDR2TzTfrgzVGuq6BBylKnQqQGdPobowmjg4uMBljlGlLt5kOwzS6cWU/YLMJMjyHl8zny6seu89qXRnnZHUNz2V+c6ZbjdIuLU28Hface0Grnl50XtlmXfDfl2Rj3YNjaKEo7pwNQKR/ABAUsRDKllMn5Ngp8AqjOF65fgsVUO5L/Mx+g9RdmcYDI3qQzxwXRSyB+XqzZHvifUBzzjZ60Xa7YaffoLltnKfn4IWtFQfYyzrGOYoDa/dShSfxx6X0ecTt4DwDLwY+daBHH7BO4CLyK95g6itr3pFMVyLjCZU8Gnzw98p3Qrz6loepbvUTuRsO8Sc14I/9oS/cKPqZ5N+7buLQ7mB4foE6ynR9r9VWSEd0fIzkGIwmkRH/vhNUFlJv7b2d3d2ddhkAbfTmqjz2Huth6Vm9Qt0470z2p13vrXL66CCry2HeklW6xXCxOn/YsMmBWIhmWxTr6rtGVBzNIt9fw9AFjz5LZiEJXzFaUmnggwsH5QzO3cOpiv6K0RdqMZyedk4TFaILcUeSig7vk0NMSPJp8aTRq0wEtRGyw5SvFcoYasaz7zpP2Fr0OLsvCBYommqd886KIyjC0/YumhB72zahxICV+SCgQqy4XdTtUO/lil2XtEKt+eT+l3li2dajfxV6MPGCkYUSDuGhgMscS5I26lrLseAjgAIHPw17DamP/gHsKTE5X6nLVlyzqvnNY7aeDWSS62HJh265YyWWIhBIU96s1yINqPzsXYesLQfvXxEYk7MToeicnwKCRwOxGVHXpF6klSvLNE6qVcbeSUMpzr9L66KdsWIO5wCB8yKKmTLGD0M4Yu22ck7j7VxIyvb/VS2ziaHG0GB06KoIwzIfQMoVM8UgsZZ12cW+BaZHtQQDax+i9IH8OPl/SBWMwryfcuo1kiP4MPW4JGbBkPH4XlDBKl610K6BULhX7T3hdRDxRu0rdnVLgZ27oCTaFMuJ1ulk78nOIWzIasErxB2MpxlfcyyGw9glFBESa+TZ9SK0N3QCCmEpfortQyFMtnSkKFrvF+7C5gG9GJzHXhEvL3tMmSEH0Ko1uSHQb9eo46sdHnPDCU3hq6Qtr9TVNLD66NcVQmd0bsYzsRNR9Fl5PQ9XkzOQAK6zFZcnaLngXvDL085zYmlP8sLUy1uGKb7Y4wD82Dzfxffog9Let58Dw/yIROjdimntM/B4GqKwWW5Yzl76ruhpK4kt5XMhUxz7l3clRbt1BwIpfLakW8y+Nflnu0v3Kvv9wcFuFwidPPc80ejGLDtt4GCElYxIrbwB15V0b3Beo8UweHmL3ohVHIU2lCavy1dEt+rg3vCv0iD72gtwQq5iCn54+Q827jpNJ1UJQKs0Jaci4rz3AaDw7tIoy6j0flQzCPYEi4pHdD08+pc2W7VgiNHyHmzPrVwVJ7OR8v460w7SnVZ7a8xrkLWbm+HpMzbnLGGbwk8DYTFNeieKu6sARpC6g5UyMSzUsQCqlSPE6EhQ+9gsnCQ1p/QP+cqg5F57uGRYcS9nTFY2QbY8b4R+1w2GM733Ij80zV84+OtDqln+7UzH6GlKYdnvZLmnrX4NuyHhesrJclh4on1nRgE7KgVbpkLNJ/JHL2c14YhCwinM23QSXyPTFskjtXiurh9YgCi/Bku+oND8dLqbUlF4hTSCpEPyiAnKr7kzai57dduHEF/i+Wxr9I7H8rnW9heHiDVhidZ+NHEE5UF2TrXr1Izkruy+OzQZfbmyws15UQGrGyGMd/MP3jZvw3+sUteqn+4wSBxcjDapJNmXk6yqmQCDcxju50CxCjbJv0B749Ut3/3koHk5PYweuUxK79hAjz7T6TNoh3ehZFWDxZqw9+Mc24aesDFb/wmaqBqwjuKGZze23zGmRUd+n02Cv090RyPNna18kASWU22CC2MqnlK/x0Xs4XW/mAetUsx6fMfx8zspKW8t6/IiFZMSql3dLztJjRHIH06t0ckIJBVuWsMIYql4I9PlWCC7Xk/jKKm6+D46/K1HkZjSFPVbsmMEx+2MJIG10PNzwcgU1qWsMk6C8kAT96QslNQcVPEIjdW/AKryHHBo4UoUCQ7CxW8ivIZrGdfBd9JOZaBWKVTZTbjupPl51Q/lEPlvueVwMkZxRO4RfvuYpS0mjusHTfb1DB2kxhWUJ2jdAjfSzvX8ZkiEcGNl3elTPAGS+e+R9xyXO4yhFQdv9CtVAC4Bv0qxaXJuE5OAeTK+B52g/GacIYxCMP4lkeWJ3bTSN1tq4tyViOf+yoFM5usJglp7L+CRWVlUAeHHeOrBlWnG3VvVWbwQLSP5FwCBenaVqFydZg8Np9Gn2vB/s6Ywn8fNQAvoI01CoJMEQ2kMhzq1fIjOj5ANc3K+Pv3nkg6DM55n8zbQ6aIEgGnADvQ1Kz/nKQzQhRd9IUvJXMPftfhlVsw/+/UpsGVsDIJ+1tpUh33/Rh30q6SUh3qa2k4Hi1FZe0gwaDPjfjXhfw8uiy7f0lFhJVDFWqM2O3fEqP7WGxgdwJZEgC8MmQfo0PHS/3CH4PXsRt6QwnGoFaKdLTv/pKIe8WsSQfEn9dVsFG0Wl6iZuLdhMrOkR5gE93uWNYLQNYbndT5U+jG6i0dTXMpIby3xNdYd/S/62xQ8WAYL1hoQN3VqTOmh+m7qLe4o/7r62oCw5d/llFseEqbO17yqvwM7XTsdy5QUiHP3yn7Qws3ruzYnpW5vipYLOPjdo2Xck0sbbaNIj248SQ7iGCdqNXnlgYnXw+aLPyVaYLdeWlNuroWKvLAXsjwWa7JxkugmgJgzBkMWtUJf9HnN54AcHd3NzGB9khsTDMdLQqMF0FrMWfNzBaBGjHGB3ca+91QlcBxsqFIOGY2lCH30gkS64i7i7bW6zl1fUtJ9VgznJ9ycRqzuTR+CcKQhkurZtD93zjQ5yZk6721bJUfLcUAdAqswCBcHQ4Cz88sEcK5uxfl7ew8UX8XV7YdUWVPPEZqj3SSistZYn+VWUo28Ox8HT/VeJI6t8hgZ/Ib6cECJ2cII6x0XOyQjKM8JJcWVMtDnY4SHY9a2+uNKcjSZ2Pp0/KonkC9wKwuA8Ws058h/CVgBnyF1rfaArlKfjRsMGUEwS/RGkrTxYsAmfKdewey0TPozfMxz9jOGl1wE24cw+lsqoBqAh6ZzmP3fD/dqIeFeHUzEPbEG9DXDH1pxz6XmjziGFiCJnIaHUdula+ELWB/0PGUFjAxBaIO5Pj7l4LXQSNUyKZY0UBdDNKUn60tT2qEZYgRy75kwChOvHzP+BPdPsCX0D152hExJ8JR+xD1t2oojn86xQMjs56KO/qNKX0P3QdszUvh8ZvzflZWH1c/TOLiHOcc26peKHFqT8TnH5/9FkjJ/PNSvysUaBibZPzN+qcvEVXN4emRZLCGM/CuEgTzbp0nZ1Gp7sZsOhfciwMAiwZeoa8fhUtZiMp6GhL1AF+7jM2YvphVEXS0FUi0aOlon7JI4VCJm2EKZd+XR5OZ+ND0PA1mwavOS1Iyjx6HrWMIOOc4HRMx/8GXRShBCn81oBI9CmSw8lw1VutFOIoEtLtO15NqjV9hqMjPMZPAhezq0d3iXSVpfO7t4L2JBODfxGzLdK5j14MjES/haubTmmU94LfFG35x6z8oQixkuzaF8iFTIyQfwSWGGHEQVUfY6tXO/69CQwu8PSsN+/JvB27WKmoUN9lVHqytPikmL2LQ2JvRpsbkFc/nka7aFbkixnJbBIs05Z+bLMysYfGm4jf/AVHBmE8fQvAP/pmOsTvnDLsgiKs4+dP3ffkYES2peMUeXx4bMKJE0lDNVS4zpbqvi+RNT/9tNbp2ynCEPgr0B5AemFY1U+ThaXxO4nKuaDhUUhrpxIxdGY5HQbHWc79eyMWLPJLcTv6tKK+K7ZPMjNxpm5Va7HeeQQ98Qes5kVwSf/a17brubnlW73bR+hY8gID3k6O7fgKdEJb6nHBNTxl9m5Y/Jx5jRtq2Jbfjtc23WouzDTCHDGtJudKB8fi/BZ3C68nSjkxkQ1euwshXbrj2NrUcoO5xqjZdK3Tq7DnGW00gUATEhWAag6uN/FIwvllCn9APEpsjAA3UAOOwDbVqIxXOj8YN2WJ+OW3pHiLclt4KcHaMIYmgEZpZF9fxVqJEIiwTfipW+PdDDRB2a1caAYHCvRSwO99C3oiTZXwC7LWwjxIOZZvjCCbbShCHBKvIU7vq5XFKuCgGC6y5Ot2RrEV4fz9Egg8xCEMk/vA0AFP1wnlH+OvG7oD5GrbbKwlId/Wr0lskbvGPdsw8N9yqPriXkLI9ImHVlYumG8WYozRZKoFyFJuaUpI+GwiNRWPkQNwrSyTJgdOf94e5fue51hNdadp3/zOgczC2Cje/4Mx0a8Bpz3O/F9+HWW1b6dR6+E2bQ6G1ID11I8VPrJ/GyDThVRG+xzFwOFGT88ga0TWGbU4P0YyJMd9XvbDfr3RulXf1iPNlSnlwD4a/TL2uGWxm42EequhpjIdz9Xfe3PEqECTtN//yHvE+w83X2X2Y/0KUEENJBD1Lqh676RzzS5ISVZDDiOVu3Mrl7W4t343yy36jqvOjvtY7dWgOmnaWdeeK/H2QMTlBSetlGFXrS5g0IsrxSiQII/bwrqph334/NPWtjYQUIcYcFActeH2Tr5WHur9iSUzraHLy+oIBOv0OA9aPyrG5aZokCbdEPqmNjmcRCks9CyecuDulvCxrOTk8Mf6OeUqX9X5V7hIP4B1lNnwZAXKiKiuDL+k5ev08TviSUIgLvd/n/llEXSpnO79bHJtOcjcmeiN7JceAh6LFYdaIQb8JVf+vVCQRCQU4CUK1Fjvp1dDd8YH0EoXFh9sq6WbZCaJomgq7ilkG0TBD/yh2Si+aNgR7U5ZnHeCKBq6fqlsyFN7lXsJjqdsJ5c7giqJRN/RKTAKMST8MXtmdlaYKQ0z5EjTjb//CM+5rRTkB5Mt4z6ZcPh+6M+YbwqSpedjXY40RcIn8icMk5zq4nzPbtU2N2RS/ZzUDdaRwmj9Z/NfP3AkCb3OowQuLXV02JlYeWXr9g2ngvgYF1cHhw32kYd6Hntb/7AKYaUSj8/PnF0eXXNA7D7NDC/gJSOYDfTGC8oYXOMVSbBuyRDNQARSi4PD8+jraHxJ+J8xzV4tiAjkGUDEZp/wQsg6nrkWQE/MYkhIkHHvqnCXS1zZlYCAFBPB6aIoPOVl7aJ65r6bzcyDYFFeGWU5eW0peBGV1zi4jGTBexBw5dPU7Izbu5NRbpBRzXq7o/0enuEy1g9n8YW3Gc3KY6R8J7uvS17m5B+ll+895OgUAx3852YQQDWOJCUqYvrJ1uRQ3KhHVOvYDx2IwdaBdIOKYT2UfWhOwx58GOTmy6j07hDt9bkA1hgLVp9CI4oyIyj3vJZa+PtfBb0joOgQ4CAyxhLoGq6sKJE4EVDu4HuCbALS1B2PAwRkY3ESpcg1/grhIRbqvRcEKiWXvQDrWdlQZpcjRgHWVIZvjn7FTy/w8l8lGH/IunBxGSZp+PYnNcC7Sgzli+2u+UbzlE4iWZUJmEwcF8xKY3AzmMS0E428uLw2vPPXMtRru3H4+BfHV2ILiF3EcjELzt/70gQzHmZrsx1ywUNkuEQrfCUDyXQak31x+C00IG8bMs5mIqLMEtGb5OWC/iVO5zpN6OsK9vDl7pB8y9WNHCkPVQiOWvyqwA8irErHoTVx7/Aodc9Ch2+gRoV9k40Ekgf5Aeuca7qR5NpLnAMAKfd2N3FLYw5a7Oh8FLcIOUghGV/Jm8SKowgOmnz+PUXMNPPC8gB3yRFxWtgap/G7WRGj+KF7igNSpnzotaOVr7TPPjVRf6RHn/WnTiuMwPyAwfibg7In4DXVttgMdlN0GIMaoIxSuMSsf9K0rcgpAPu8V/VkAhbC4VmMhdqdOdu/t2CJ43oGcTWaTWcXRMxV82AdK73wbKRo4fCPC9csdDOtdEc7rqIx7q6F5ZaU8y6CWNhWeieVUinVgwEwcvjRlRTEXw9kA8i9LhSN1HbuTWnUX0qkOQEfZX7k5sG+1/jAJR+FRF1ct0bG2zmv5RCv/hYFfOCV/vHCVqBLSj2k9gcVKyzvfNUu25pC0B34ZgMkYrw5scr0ut5H+FSp0kT/dS1sR3VtGSuYKSmKGST60oaXigMWTqhXHCo78FriLo5xvOVgNj1xBteYs9JWPgBzB9Zfgov6PFuMdsPH8lRmrSiYBabcFz1tybO6joyMGQkJL+EWx1anpgXlBuZeSMjWHMLKlpBe65NI7EY2Sn4mkSRPCvxgi2+10+damsCSviHrHd2nSFBYsuxMwiiGJroHxb/KT6IXB/xe07xEgacuHhxtyRjbeMOVZGTHow1ZZUtooIi8Q6bBD1ikJf00q/2oo5xId3OEglDyXgPW85d1tyaYG5lv7zZwdMDxkWAyEYvnsDQHZrot/UY0ihiwQQd4MjhA0rJacAucscJLXwYTOKcc1rBe9npJTM6UfF0R8ObgxFDbqpBIeL07BW/Fc7KHeT3gf0RA0N5e+PixfBZW9hoQ++5tIUhrVbloMBW4+xtA4XEVF1bbgLQudE2p7JtXa4qhebk5y/DoQtyzmTECV6tiYQI/bKBc+2GiXU2ajZ6S8fUXVID07imt4WeMkNDkgJH/9S9fVwcKASLCF2YcZSasSMmad8ITvRMAOEJcvHq8WpmjSRrq9WAdxO8yViKbUk9zEyzq8FP15ekMOClrIQQaPDvRpS/jWGONz61ZkP07Dl1OHzgXiqBKbw4DkDWfeGbdWc1UMviuz2jhJV3jVsV4S65Qn94tPzkNdh8CPIdeO3QPkvn6Gi2SyIZjNh9a/OtTFobYIal30Ma4lBFHT2ZKg/LynjVWPKQnvncvcabCNgXJBVaEuZmmeg4NO+ppUv4tbUBmQOsrX/U7PCmo+D/udqPa7WZhNeAqlvsL3nNiE2kMajTwgd3hHrBYxBKevc7r0vYWXuuQVnXxAHfHixLLztsxSMYP6OdnUWwo8WHPgxJTQXlFfgXf0ut9NK817JbCPpWRzdZ58l3bRiPjo7bVcZNt8sNk+i49DNYxuEV7CgQRrJ08YVksUNVmgzJ/Ltut8mhWeMyLl1dfCwYKvF31Wr75OPD7AeTXPsjuSjAWtNs2Qy4pj6TZzex+coYhVg3EKjaMMK/9cj1fjaTgQ42ftSSrylwUVJADcQTpiSggl31ZX2xb5qZdTrGJEr5fzOaD7A9qeXXBsyx5DqC7mF9H0Jn3nvr7w81PFDsMvV7dhOU/s4E/quW3DOGfXF6N2rMotBB71+Z47yokNgYUfYSbUrZYmy5BytmwzxaBAKvvTND0eVWlYc4gsvvP8b9uoynCReceRTAjSrAClBcgCXGTBcK32/c3Ez3VbZi0rliJjdwLuhFMTyDq9bRNNNytTWfj2j5eCjyALq9tlc1SnoQLyjG0ehaJfaqHM+2S5RI0zzVM7C9LCrEMzIiiC+NptAIpKuiz7gVvgVNNtEpdBfzr0zYjH324T2t6asFmFCduvnp+9/cJmcoTlszWng4sbgiWrcBhKh6NCs/NHSlJb/hZsxOHLTnii5B1nJryB+Ta7d4EinNducAHGT0znCFfMvRrGCc3dr0JtdgNltsZVDEuJ3WmKZnf2xBnS+NH46mGX0wUoe97YfEPrdD4JmshhdPcOPyMsbIHQ8R20HFDRnkMbwGvnPcMfmbshWEYeaCVMsJto6tJgUVU0Wer+L0lAXsTG8KI8SLXAp99b6mschSy9/dCiZ8yNM70Jm9KEAJKTDJ8kKFOxJLu9hUBrcqCoeol1PjJjGZNPUbKExACdD0QwRt4JjOKMNW3KJr97VeiATWB3gW+wLXSt2vZ3AXqo87VBwlc6jdhcxB8sN2r+rmB4DYfyhkYDbm6x63HS/ZwKbEgbTLB7z87FVtUUZ7EOjoARLkfQowg1ser0IBe/7lT2K8x0U7ap/rFrWmJlYyLmHjzo+irdnE61XSdRJcEYGL3c1vB1wFrcI//MnstYzEmT1SqKs58XaY2qiiXQaWUYHFd5iAV1df/nTZ91QwvoJE1OpYC1kt1LPFVMKQewLxLD5xVXhAVq+CF2pysCNryaukyyjrzynCTza/Xu/GKj9rKY7aR8EAluaram4y7ICREN6mWMN25mvmCbPPpFUjd4utJEv0vKwdVG6KIlDiyt9QHYjrhFQbcm1Srue6kGT7H/JD/ANp6usijTU+pGLNwDPFdRoEyDxOiBcsS39UGt77BSzf1bLXng+lxJheiWFxNBY+nM516OD7Lj+pJERJkq/ayshvGeSsaskH+NwzGm65O4vzdxWd0qu1VkrA9YdVZ2AMZtiyehc/BZWjSXTzvB5ri86BgKH1hz4uiCwOVgvC9iBYxeLTGbcacabw9IJDFWxLfGqGGwmsuC8FIrGiSh21twrR1KJWNW7R6tnGf862cnpFvCErkISYceJ8etlyg/JjKSb8Ss4FWyY1NquJ3vFS/CJIum4yoZhWchGqaLeuE45idEADpJWIcdIm6wLASWWUgxqqIoUxUML3+O4qpbIVaQMQh9n+oLRl9LyL7EG4HLmFkPR3b/UzfGkatwM/jtPqZVhHCLC97xbaxjYgrYSsK3xvoS4Wt+M91UWudcgbM/oJLlYua06EkBkNCIvohtf5dz3aZb5maBWpIStVtIXjSNOvF5WPt3sD8qDyiey4DGLO2cPJOBnWWFrY2LrornfvidY1NG39cKhtMEms9nX3mezkInLXhMowuim0QCl9CZjGJpQymoLimrRHl8BE1QNj3DwIrAB0e2r3erASvvcNFxC3r1rFmt1pXROmPoeBwgOVk0ecBLBcaVz4SeZ+S2WZt+CkaSNUUQo9SP/I4n4t/SuA2G4p8YEZz0CoXTMie/UCgEFXw9ov7G6LIhVJ/bTcrCbZly9ObGD4Yt+evh6z3x/cr1xO5g1IArEOQ+QiE6S2v5F7O/cUDULHU+P2c9xsyopvCW30FiDx6Z/ZV26czCAu4DJgef1Z43PW8pMYB34ws6KifFy8BftQDtFm4eBcTaU76oz8doD+VFLL0vxcOaw3iuoO0iNdDr2ZB5pG15KAnhxVeLzfJrr6l7bO3Q9FgKn0ulBLacuus78LQ5BMu6hcugOEBhBIBEI/N008ENQO5GReRVf3aA/ycTmMSRKWZRi9ldD2o+AgvNKNVJ2ElZ/1HzZdyuI/S/NOWRzuRO1ZNIKfG77NsBAeNwNHscGskouVa8LPCtfPEGm87yWFxZnw1qSrgI0yOSYtf+ronPHl6brB+vgBkc5c+frnFjbuJeBDlM0EwJZiJIwy8GoqkS1f2aY3sBN945yzyLQbzrv8U1TSqj8q1bY7/FquFiuk0i/gug8EgMnwszPek00cFT9xogUAYBMC417+J30H3yyUqls3ksvLtUH+oYfcDXIR196atXSCi/PEFhi/gNZiBd1v2nZ0A9D8miADDCRPhrqhmDNAb5jG27/X0+va8Crs8dRAT3eiJVl3yCMN5v8idz7r4n49HDGaJ+M3jjBe2aLXYFTZh1dTwKiCGdYArvzz7HNmY5XDonnE8eyOr7GTmYlTbvpY/mTTa3Y2dRsLH7KkmAsFzT/13CsZjId1fq1M5GjtRV5v7synKoqZL1xFkT9Mq51my5zbdh9PtikvH+3T9MdiWZtmKJ3JbEhd+bpBf8ro2SB0S1usR0SRpH7u//qI6kyBQZYiFkwyb9e9PQ7PKci8G7ukANkT/7P2ALv+J9k+KwC++2eiQNWpOdPZIGwqHTF8XWecfpDwT1zwRIjd5z5I0MsLbSz/r4CVO6kQUnjdDqPr0UHHODaq+XvB2MgTzW3ckmOAaBD/rVVzxRIlMroygsNvWldqd/Ib8LBvRps8VTiI7ZPdMgcAiCg6L/EjkWCdEGEIU8bQmBVRZwWv4aM1hPExXQlzxl/dJI9hbiesysnV+C9cOm1IsXuNQea/tAsuNNwxu39SXN/ymPgyIjqoU3P6ReI126KyaIw6oeTVzeGKE2/ByOpFufVwJOaJ9vLYRqJSSo2M3XsuRvsyIdm9HOlUJ2YCjOlpemTgQszh+mXDXPWSioYV0FO71xbtOPJfyFHprnmQ9nkm7c8x8Au4rnZQMF+693fe+2h/dNZ4nh8PpzzP1Kf2pdl0Zf2x3oOfcDgZJBdtBOCA3Sxqm5INe9JqrjxmgMzqxoG9I2LqxWL9OWkQx+114E4DMtyVhyJfMECQoN9Hv2h4fBC8s5Nw7qXetHo9zjTnkMuWFVa7yauil9O6jAt/nvNQT+1JjzuELV04MZD/8cyj9MmKC34p8cDDD+0fuqC3pOp9OCFZDfd5flBRugYHCusjVlhB+jtD7HWzaT2wE+K+g2ReWlu/cN81JsIC660nIPOEPb3Zt5PcZMm8fU1PHg1HlsFi4ylYh55mSJG5oDRNY5uJ+jojyGS66c14qFdUV2xi1TOP6I05nKMlWTZWk9xp7BRBAI+Ga3RGPwlrSf8Zf5MKOpDETgtqpElQLeqQKM8aF2fpWCIqRrt1DbWpjW8FvQ0KF6JfXexM1gZCX0wQh/a+74GQlDwMx2B6DsMX9exYQxJrd+GzlGj+SOZCjCCoqCm+y8PXktUiHqKJv01iV9mfQQ9f6S0lMmd/oKWzxITM6K358Tozp2cClBqJ6G4+A08lMO0Hn8lZaAtYg3nNcNzSINMnKgtwuzy631Pt8gnJxcOx1P0uzW9+oOtmLxWyPzBGPxjN0CoHkJtHP2ySkIvUOkBaVBAVNQIOVydNXfYY00Q9BDtTBNaigB6zCMj4QIODKJrmUi1qKNvR09Yt7VV9bT16bV50ByuCz/cOLA554XFJMUSujBdsFe+WSgeP6bDpvRLDkNCnh2Nqrm1xJrGM9oKtzk1YsH+9kCB4tJiwd8fQcBiobRCq2IYPD6g9KCUS6V51Bw4STbAnGdEtS/6FDLAQWWSgZiaCPhyD86dJZpxs95Vg7d0PC95Q7gSkjnryRm3rlljGZdyxEZx+nk7J/XoJWoFpV7usJD3G0L3RqWUlOaa19jylz6GcvlNugdGCmuMzIU0IwlhybYvi+744sBtLwz+cYfYzWqaHRDpSXJzqJJ4C4F9D8l5ka9fLTLUG5p7qW/zCZ1ut0ftz2KqJ753KAkoR43jmQqCYj2U00mP1JiSQp9fLXC37Ax1dDJ1lXMdLOhbMSoRdNTNVzQdpteEXP60Q8jOpeyqOE6NqBUcPHXe3vnO04LxSYhDAFbvDgcyC2OiVPUgQjpwSmsCZ5ZDVygXfbURTzbMbSxEP0g/Az12n9IFTJ8vFRyoNPiRA2xUxH7F9fAERWtpdpDv8kNCMc3/yQbLh1zq41cMkDMzoiTMvS4ZpuiahHT4yKGdYBKk7IfKHWrreCG6CiWWTZpOKe1Sjliq6sFMTnjfuKWm2ehsBbpLpgA6x8Ntt3Y2URTmldLwpIdP1Br5ABsnuX4J/ABZSGvZAkz9L7awftEax9quOvUaVB91cW5qPtl+yj9piKbrbhqfahtvO8krqmAFDdbqsdGApHTOLFGRN6gtzlAiWdEH4J+AtuIyyCRj3FzR3ffgVEhDJktmqm2bPRpglYf4HUD0SQiGQDKA/AWCIVFKgrNXBYfzBkw3rQOtavHDuWOgIVRaCMP7yG8fznK20sWNcw2OD1zwRE2cClv9B6JQsUqO3EAO3CB/N4ehRvrHwBBX5NLEsebEQeYhJEtf42a8hB3e0el2bcFDlT2yNozN0vENgDExDkkksQ4bPYf4WGrxSZuvSCcuXAwW5wJfRhQ4ZqEvPK5PeKntMvcmRO1kmj9E39jxgFlI43rEKoaezGtYnp3ZOz+KmSXb2TqMrk6nxj0LGL8VQYo70CamYD9ut4mh6YNBqA06WCmEPDoDNmohg3tzI2lO9PUObDWZgIkYkflu0uOz1aVSL1UMGrZdpY7pGmWtKMSUK43j/czp1LcBmaAJ5+tZto6Nla8YiPCw24tTWBA5Q9daGtyavGgsekgjn9cRJ4RTcbcROVDd2BkWbznAmvLqrStZ6NFni0XUpdU8z/Hd2uA2kVJMKzkQUBZYNVuYojWXXEdwtZ0Ko7Ym4ZeydJ2DI08DAIm6+Loo8jvSdtgA4JLb8B66Xs5zwptgJQNDmvSTVYIjHq/KYNOJZ2qRprMAgeM32yewDmltMxRuX3N0Vu7WZ4Iu8OBpRYbA/DYIyplVSFkvwSTPcQTJ4E4PSpF7ZcT9LOh/C6bxfqpCO5QDWEKdT/YLMW7nC+xuhg4qtCaiAY8Ti5uOhChhiUxuEfZ/LajswWFuLqHqLNl5eqMEMFK8bfmkkRuW/bNBobOr9ENTkYr2/BrZgMenvGVlWZlYO7et8QUPB8agD11Rb2143hAvf2uMni78crcvb+e+XVe3vrwG6dAerwGfshKiP+PBGXhJbHRMqPnjzTGLrF8yp+/OpAJ0l9e44qLY4iwv1AoWRLCHE/Po8nwOA1o32SwQcI3zQeqM9T/WSCLfABUJ6Q5CFuEXHzK6UCc6XmEjRULigr+/krg3lUGudowAVJPz3LrWuYCLP5mnENOKIhE1CsRLz3CSHuC7Ui7iVre60n8AZYsTXxZxoJEFAqscHoH4rTXOwwr1HhsgGSSWr8MXxWPvieS2tT02REiiO0fAqoIphgPETd9cpqFbeYyxyglS4X/4kq9uVvslhURv55ohxBk2Ke7rMGcgDUnnLsBVzKtQR++PqE2YxMgGc5ohjqH1GtElQQsxMrbU9rz5L9hzJJ0yTb/egb7cSdSU2L4NpYq11oXEHpQ1pOENFl6IVR8+w/WiP1LhZ1HisQbpFPY4Dp7iO7xW9fzGlHk3Dk0cZxaPjzVc1J+JiR2Z8vSz43/HrmexgliCWoEBkKp/fMOfG+MSen4lsXZe11wX9F6xHrHxpWCcSRskxLfI3gL6kazhllNMou1MWCxnw1kWDJMoohXa8rn1Un9qsK/OPt9Wnnq4NacU+OAhV53lDwxlspEUl1iV5VtBUc7ejTdDzscF0jOKhFxzdgmKMzinRZbfzJJ6Aa+oJXZCzXtHffOTNxaW232fnHZi+fUvMm7hjzKzSFicL5dd4SK2wFVia1HSqWKPW1Xbj+/99MBjdn9jyUnx83L6l+DGAhBW6AbS7JKjolydBw3R0l2l3DsuJmVNxyFuilDDmJ27JS1eRniDSI1vWcah3lkdNGz2JzTWCZNMtI5JcvunmCyXo58t7PaRTUAWVYTtLICUqVCzYH4+N+J9sLpilu4mrFb9RTgvIdveHuBNBkvb9PuzkkLp00W0n1pNX7JueN5MpgOVcccldc+Ja9Fg/PhHGrMPb7NVRPAaaYQvjuBo0OEsJgN3JOTvhA6ahDtcqlOcNVUUywpQR+gx9eoc2PCS+fAvjCnGtSV21V3HSMOtoYqWwQ+f6Z4YpCjcC+frrydr6Ad7VUe9UOFzSkwKRfSO/enN1C0t02ez5WSRIrlZ5YhZvtpUF7wVLdx1OVZlcNGAp/+O+5s3/0DwbrWJvAbFOHJFO78vHLKam1mpUBQU/OTfMg2pWf1oON2dLRTAtRZH0MjticGA41nYLcSFvcXGllugs4Qa6zNbD0HgcWCb8E5gUkMhYtFndLKNGqppxZZ7b0vgd6PaFHOkzutDjl0/v6ypVmLUo8TPO3saK0dAjQCkBUd9fS7qixq9t/mQkjmwTBEWdFqudMG5g0SFv9YKdweVF5UFJaIyw8PyqOlP1lktjmBtKGFg0rSpnfh8BV8yI1mis+/FQRoJtB5SIAwqhxLuwTQDk35YGsW7pD1BaWENy+1j77kX+JAdkJj40jc73sb3e0YCfrgK9RfmrCm4teIXPeKH2gYW8uDkpYTf+nHtjMZjZ8LSaWgI8oHAEpI9JU+MA5VfivbZajdl2JmgxgF17mapkc80lzf349OX312ErMTQvnb2L6XGLaBWl+pVcBDHOxLi99RShQSNGlAVNuX9w6KyjrOYq9wR2e8IXQ8W0TuRrKxuQ+yFWzfjOwyV1EnHaFmXzYfilVSm/7U4gM55zCvVlZGcpowQ7YEgxyIaUSbOFTu6vJNbksg48PbxURHlPR++aGAyey2kwbMxm9kVDnch4kX2f2uyM+HI+BBmZ3xrGv6vUWg2Ez3UcNu8qB1EXyXXmxYPsyggbWcd8QNXQI0VORwOvMyOITNSeTyEw0M4gSPBGsqwtbQSYZiThYOkbwRJm8TzujfkA0p15QvwdNG8mqVUppKLQJi4KcYW+HcHZ6WLd1BVWPt9gNvs4QiJVVp7j2dg9+IO1pPU1MhZWWIcjaxDbT80eb63P2J9SUfrSCQytsVHQoFv28rm3QiQYQC636dKIdW9F3i2scZHfhet7Rpm0x6LYxmHSRA/mB4lHmFg8fZXovqui4ab3Ok1oj3Pc2+69lQoEIrNMEr3LkmIXOUmRLmSmBfGjJuAvLjxrPCrUeTi/JQGIod5yElvFCWJ3ZcADbbDMzL0FA0ICAaGAVzlwH8BEx+eL3c8VNmcyUXkBWc98Eg3d++kaTRiNPX/6h6FJoqVqgkxxzNOHCctn/5brz8edzJpnbETCI74ggJasjCN0ObwWpQ3g21njKnb3I+vtFN+8ErsA5Gum67EtZnDO/rdWiDbJ/ja4yA85Jsr4WKdg8cWN66+j4KAf1sYyayhOVQPIWg7M44oWfGQNV0R2Q2aFGrBK5UqEoQ5pvi4INbeuI0ecGmMTkbdzwmfHwnR391M/2dkSEqOacddAfArpDFAj/maAy5PbmCwcFSLZk8pbx/ouL4skT4FLjIjcyIik0s8mREOKMaONbLlvQnNaZorOKMnt45B/Zou96M/fGAN3PeKLhlfCriY6SViD4ieNTmGN8HJEKZsEqbp4r0++nHZkHtSHUbJTDII4w3SCBSdALQOlKbE3l94tHidWKPmKl8COpeJ6Sg1dAXaYjkSWCqdTPgKJ2F8xAKtejkp8rqHgpZblYxyb324x7+xvI/kx3t6v/KEJBT33SLk9WdJ+sh7s0+ZbRr7c8wC8TMk1A5allXUUQpZqUr/14AcnAim3aDgoG758Xco26Vj/WswCYsb/FC8ftM2lSm9WibFEmkdIeFgcsp0kVuME2bc4kcget0uufPhN1gIOISKpjLew3AiCadjZ70Sp81HeW3m5ktWeGbMwzI+BFSVq1O1t6a9Ax/loxffpls6vPqRi+bxX8Y+5tOq7sk4q0L1QJZj72fgXoUZNH0bQPNi1kRGNTkXvZ0oFOhO8JxwE4njKlTkHJEKu3+JU9sQ/In+QjWeSOtdtk/jl0s6k1tsVvD0aikYoBBoz/nybsVjh4KiqOgX1I+1cn5iiQWHJRdK5a+0vqaqndbZvfLtq2kAHyGKPMMAY7yVfeI9h3BwYCOItTOrkOwox5IPlgHcBEf1O7iFEvjKGecRxotAKBpXF0NukQExneOGsCql/XKAtn+gxXxz6C4HG7RzSP4RzYpF2WKVUseHYyyjcHIIE8pHj/OwlHjudT+bxfryjEVG+P2IDBX4iXBlsvomi/QtUC33nGkZ+om1YaSfY/KtLQj8HqmaIxG9AQitGzxY0vPCaouC1SURtKHzEahiA8GlTQTISjaB7Fd77jTu4wVjiiLzmDo3mzI9sGEh2aIlzKLPo6SI1J9s3FNkJ0qa8MbDZZZ/sF+AQGAQWDo0Sk3uQai4tnsudGUNVuiTt2bFSFM5eyoWoc5T8p8dpMYV9S/Hq9yRLoYPSkcjNR8EeCVxCBXNmSzfT+/gYf+4UpU5RXRmSTQKTujrJnolvZIfWhk2ZO0xzfc7gYWsZAX0XjzODxT+aJfmF7cq7TR6vKPVa3LGK2+DtR3y76Ff/0/DD/7g8RN5CnH+B8AinI+pM0HeFmMu5t2vspJ5brNJt6NpC+CxL8iBcm5BWMqA51wXywBRQUZTsaEcgoNypErkgjhTvyH5nJYdL1ZKPcjtnQb3yqiHNGOrBC771SEcjHjQaPGjkq4Ct1LY4e/iH2eZB5beMQTtLVqhTY98xX17DuWmIyYdK7sZs+8g2at2n9e8R8k7ASP5zod6WiClqNe/1/0x738nx110WlR0/yUR9G/G2SI7U+xh476mZmPX6byM24tpNbpTYFMdtfqFSzVZk5LxOT9bhu2uZa/j7hbob8JbVxteiE3ZB/2jlI1EQbpY8Lpc4MkeSascEqPRKEXYPWVPDa2Hk7rqtorAJ/armG2GPAPC6fW+8xgEytQwSmM6EcZgO09NzX26XDv38xkGe7Q17vZOwjV4CpUYfbHN7w1Jf7PyqBF+9IhvY3FswTQQqJ+QxKBszqzAnbCfhIaDpTiBCahc//pr1pNhUTFA+36srSb27IfCR7W+pfT1B3yadDUlDpJQHHB4yNhLAjjHnh1kpVMw+GgmfiDG/TFRQMpVCp+jD568qpToQ+pJzjqD7h93uvy+t/DBX8avNDx6WAzl8x5nhTnevV1iK9OjCIE1X7R/4o77qFTBxC15mcLJ4Ehgc/uUJc7UaZ3gS/rfvTHh50o9/0hvtLP/yO9nTWrpJ8Z1VjqOlpZmB0K4h+vT9Pf+cieBqSq0TqYoDInTM9sHbX7ZGSDstgjnpbNtMtLseLTdJFZ/SsQvmvZOsEJmu0pWTadOnzfaAyeR+ZFDlSjjeOmn6K9n0gkluUlB9VNwWY1wz8lixs14sJ3CrQxxPxDn5CNuveZt07YtGkIYvFXyH7nuZF4rYk/jAra9NGaSy3zJkZrRsaUTQ8Ykncf1Aio7uAmq/YVm+VLWSsdopzSHnXppgxJMZRRdSW2Fv7mxbOcAZigHGEyz/8Uijxb/n15qe+J96fz7BMz5DdvUFTPEEYwfwmF89J+h9xDNMS94rm3cR1kLOsX6ejX+toxIndXRmS3+7NrItnss6dawpVV4dyvuM3/W5AH8iSN6zMURs6BEfoAJJe4T/sLR4sp2actxwPpno0EP6Ip0dwum7xGL7iiG+utacPou350AlKYlBGpKfn/S33G7REsMIOrgFEPwyRf/vhe5I0X1xNumXnVJPVPg0c1WWbJZzHb4Wr7d9jpJsgxRANL1G77onj+KwVsRvAhL2h7aCz6MPCHG63ltB3M6UPHXiQzkPd+Nn+HFAd0OlMrbKTrsyWeAidZcvyUJoR7YtJ9DhN35B3vef/VOdyqDTU+6XzMAqSn6Q1SkCF9D+efqGyDUFeXgKzGhYIJz5XHhws3Oy9ebQ2plmonYUshq2eVqqctjylu5U83Uj/waKRVS54Od2fUhZoJT2y5OXlrEvRNz8FeFndOCnCoHggxYv+2tpmKuOE0ZwF1FWNebVCndTQZ3copHyzUCjHABX5x5Kq6L6YvVaz8w+7v8S/su4UIYa9ZEG8xSBkItvgQTPcHvFyF1hyVyZoFevvEJvoPKcXZyuRMsavOa+PKozNaB7PiExVKzYa90MweN3uAsb6RRKjuOg/oP1Mi2CNN2UgM6b9/DAQmVScrnJqLrej7ZlQPV16Hh5wl+4rF0PEBttqZ1taH/SvE9lL3mUZJpyNcDVYeF8wkwQMZqWXQYSFMC84KPW+Jm10P7bSX0vDm8eik9UkAPhFZnbyX6hw03cVjEm8w/pwgoajrKQKYk4svDEtqJ2FoM5lhX2G9Ud1/7S2Mqp9rpPI1iZ4JXQZAP3kFxbppXEWO/gsEMvNXclb1CHg9Z/fXJOsy65j5xzp9+jECtlINEmufE8qg5nDeqVtAmsZmxn2GPB9JmvW1tyhFEzVcjy9Lq5dN2epsEYUch697Nhm66j3f5hB2BX4t1FFZFmYpmBca5ROwbF9l5ExojijOUrjZ+1UBKJxUupk+Nd5yhHXmFgpETSkMXV8zrD3AjCOG1IqXzCfub5PT+UullbZ6KITQ5wokZKlIW3oMTE7KY6iJ38IY4gGAwwiNS3R6M8dZOykMxjTKjbPzQqidPzOxq+6a5KDYrThvW3uQKg4buAWTerxlEIXmTsQp8vcLnvk2DtN7TLsCcV1BpwAkdP9QAS5hi1c36aD4GYWklHuGOxlCaO7sZ6pRr/lPGhZMv/sjFv1FABcwRKG9m/L7il0p9u1qN6BymUgDyrpe3ZRoo4Wdobmt/2aXF2g/7GAaOvTAWalESZPfQgT2AudoYrOs3nBK9RJ+nbBSHkaZtd2c8hgRFoY9YMzY7tddf2mrbRVi0oxGEgEZbVmX7RUSgyVr2MHTR9ba9fQKHGKf4T9GiUG/lbIN/iJIxa3I/BudKsPMM3och5AfvsAGKlH5VhuFyHRs8Oi97AhawGx4V4j/XspOzWUw1QVfGICzSlSoB0/g9Ee8LYRIk2zOA4IlBqztq0m2MVe18RhOD1h5KBT19NCcy0fqzld3Y/dqG8pLK/mf2XGMUVB6Y105WCSUVDdk2kNARbdV6uCsUr8y8reVHFEjHq2QpNqy1RwLtoDMCC9G6pIJ6hZx1CmAWxsxNgGnbie0eTLo0CNufua2TihiAIyTb9CLDgLlpVmKnjS75aKJqTYV+N54qowWpVouV66AAqLB2GqVpwzV6ysj2DmJd8puaC1oISKoSBxiZCN3xQiixBXWYyQkeVbVL5TFVbNjbY7Hq6TBehZolao2cRZrX/0FGkyo7s2s90kVxAIqfTwJLLwW9Lb1bUAzuLoAzVFAtKsh7A4oKfpZEbuovqBSrrgAgw1V2vp0wLy48qkUrVF7oSsp3cUGEsprhRqXaBzO2B3xrw96y6IC6cwN5yyAu2WhqRS6q3pMmy/Q9q0hOGIdx9Bu8J4fr/U6Q8foxDEXok4AWDvqdEeWg0PCPBheG9WnPhrvEz587+M1WSFvfhedTnl5ybkirdVbAcxPE3FDY5oRvxDTXDXjqsLFosXwDkZAnI7gxmbo6drz0vAE5Qx0WZT4juewsspvBTfReYNWTDfn8JksX9ZveMj89DJxy0gik4Iqy4XSPn5XmOaJmNzA0Fw+IKOjZdfB0LpQkdMx3S0mgtDf/W1jjKxfZ3xSbhb/poJ4gxBfLXnZBnTGU41IuOeJSoD3aDtn/aClQRZp5llCLwSfUC8HdfJHHvj0Vp47gvWTssyTS6xQqB3CAo63/5xEEmKnb06kBEik/jA+GcPiTi6aj0ALmFO4FeahBHqz1P48nQkudgZAxrFwy47PunzkHX2XvI7xTOaaju5u8GHCYLTJ1mj79ZKwsQKPMI+jcFyA8j5K3Y+x98dtQdGT5nixQ3/v+ZfWlIDJkNJhKdhKtVdO1tE5pxT7rpSq6uHHQWDOyKXi5mWFI8anYm7ffD1PV66ij6GeybEAE30Dkg8BL+AAhYVcTVExwSYC5nl+SPRkVfskbmGPTHwNUpXbrC+/edgnMn2f2J+YBUV+GxEbeXbLOYletZ4R9RMyJF31ZVvPG5nrtZo48eZLfeRA3s4nAPR+cxTu/ewEXqrMuhwhm2/YOC9N5SovQSBeD7UpqoKeKFdmsT/rqNOA3AAE9nN4I7YPEQYzYpyQBZ+fhDyDPHjtcL0bHCtmovpLN//DBkfgUV32hBgYfpGxfbb7F6ZVH5O/OaZ7UaKXd3uJWe8BSOeqn5zlQm4FA/D/ti77ckH8R5ezLY00J9Hx8eDZMogG8vmCJZXRTelzdPpVOr0dzgRtiOjnUpeiF/XQptUpnTn2vhd8HMGdBfzvVeQRgZ2tFrWUtzfstjhGi8pU0XlT01FlKoPI/xEVyAM/DrllaYoqJue8eS/POZynoJqLmSorKhHjIAInJFdq0g6DN+e7blBlHvM56jQfo/V3E+0pMsKJeTg3hadyrwiXGZ2W4c+IqNC7IV/Hsa0U8svfvTmpe0S1/tSD7XtBrX/YT/brWPq+vYOFTawD7MItY71Zf3t9/2vruU0FaOjIZ7UVQIbyWhR7eRnjR32swV1W8UBylytyJUjHjOPv4NEpcjpLwzbzuPxQ6dKL6097LqKF4S5V9GrpYNQK3D8104JhRRRSc4yD61zQyVaG8PxaHBst8ZRUGrphsxGY3bmvxFUdr0HKvWP0F9i8T+X3UbqSHRsT+9R0Ab+yp6P+cSNQw9CYqQEDtoU/zRKrqCLyaGccGXj8PWfoXnD9Y2yOVk5X4OKVGUfApAa/Vt+fpDvRf3UG9Ml22+Bx0op7EF0aKFv5V+lK6HRyzoc7R6oVDVshlMURmjBDwpsWSZ7nt2Cv/ic5vnUtL6Ycfs3EXjQ5gRr+TWNz8itgPxWjvSNdDcgFsJ8i4KCixa+g3AMiJxIgmWxAWrstedccKBDrwHCVXSPM+w7lNNek/0lfdbJNBk1iZjL0P5z3wF8ZFInJXlgFC7m8ghBlvYJcCLSQWD34QUNZgpWODjjsC/rfxt8nr8fDBZlDtCl0TTL2QfsMrs/fBBa/kYD9HG3wCLkCmJPi7p81T6RxnX1WpZGomIVpT7gIMHK/bv3v66R/eKcqniIzKPNajR0skCGUqmtNnKNTuU8QmVqFVTjmXCw28eWMoyXy/4CBM/pcKrLkQvrSSVb0BDCxOV1+JoI6lcscp/W9pp3uK+CRpga9Oks8kQ4PWBLSAFwaMRRr0nz7r2DFCtKWPomLdcOh0hk+Y4FMoe21UfT/ci62dXBhE7fYOQj6jEa4F9bWHsNYJoMaVYjeuffDtKRAVITzsCMcTlSjNP4vHdfobbOSLv5duSwuO8tE/KG4xAnzNOCWYw4YNJbD5WvwwHo8iE/rCJIZd5Kjs/6Tg3JlpwYYLOqlEvB4sytDtX3mOADyd1x0TSf3sctkynCLpO4/MFzZWcGEyoG4EGhYvOVnEWC7xuKDrz+kWDYy1I5OCrb6TsmbByECtxczk6OlZaiQveohy5jnypyHLM9aTwFP5ETcpgs0ZQF6v5hA7DVZh5I22wl5PTWRBocRuHEBDdOGH5/1GmTD8T1dLELJujYe5sKXYywNDDrOT/ssPPPtRTgDDzA7yluy7ub7V4NRXaGw/1L0F05RIUauBWjBOhfD/bDBM8FPfrwi9AEJozEmFLrbM9ED1+KJ+kLnRXgIPrnYVsPCQ4z0vcUNkRYRHEGe5qMxrAWngKrN+mIgL8FJ+EFNQQenst7nOtxir37o4fpQvPCmO5E9yR5+JP9Sx+l7+1mVWupsg/FX027sBtp5vUyX8/9hzCH8qTIJ/qsO3kZP3pggaXiXo2y4qJjWLGn8JHEP1e0pEpWrtoFmskctRM6bbTQmzMLcEGAyNLk+95zThOik/HZNC6evQo6CpxXvcOr9zdOyj8cYVUPOblgfnCFMsb40U06F8bECxmekhIf7MQWon0gt+7c0IaX83vd2qNxHKZvELyFCObdhsFKSZdJTNDlXVXlVgwVpxzxJWImio7uMuZTlHyye5vninooomg6kWVIK26plt4McHds/3z3RFWtd9L2RAQmwmYPTgZJ8+zkgGM7jMdGaPkrNQEKanLyjZlk7LZe1VVXsGwVZQJTjvQGsAZfvtJj6mNYYwpktHdZfqA25apzERWCEjy0axNgxA+w7fqvbnCF0r8NsiByu+TiIDMUk+iheYLskHo0VwT1h6EuF2GVREYTMKAmxauCeiYpXZVhtOYi51CEyZJOTZ8m/AyY8MxCEHLIrhlxT6npmI/gapdH6XadYHNMZcaWpB5+E53pAR7K78X5bPyhFTfzBCbLhlRvjw6V9w7cwt0Cg/8znh2RvW8u84fFir+K7+iheBCzxzgMV9OzduK2uAuhebuh3H6jhsBLUzUe8ufZKGzexHyMHCZGFIiuGMZiKa/IT3scXURi/U6xHqpd1NpZZamb2fvbIMl+JsZbWj0jqM6/gjvBP7utnqw3yQfYs9efDWQLLMcyhj/A0Yy2DX6K1khj0wYZ3Wx3hYUpOe/UpvfgkXirn2qq1LdbE20cjYWAyJ6wnmMbEgYZXkSu9sXBSPGYighFpU1e3K6TZraSItZunsgDd1FwfwFPzCjpVcvLrWo2scgHyMKoeK0KbSu+b5n8/PsETHSQX7WZxtGQgDPLBUAFPQegZtQifHGWb2aR5sH5DsRR2A6SjRcDA7BfJcBo166GOpG7WEC5/knPQ9E5o0TKp+dEJVrOk8327JGZAEMBauwSDA/zEdEc1aYuz5JC7rRZVeD/lu4kmLZbkM/QZesqFn1trgO4RUXtZVgt+6/a8fh0qqBlHSfo298snGwJNOoW8f3jmDNGYk7MpzM97b1B/QrIL2gDK5PI3a7OnGOP0SxeqlA4vNtWPWafFIP4/MqWHhZ8MrFs3CBJIvZ7KImjqhFRppmkCTewClc5FbyLNZukub5vp4mlec08S786dVjDSemHYPkCr+3PuUdSIdkeBJ/xXRRDfhbojuhxG91CPicywCGwXSzaoB6Xdf/duw/Xv+CdLUYqr3gUusA7P0FMSuhI96T8l3Yll0iB4EO+SNkift9VJMN0VdiPP02kNxgX4ig1OtmMkh2Lh0zs4RokGnkhLxkC7uTayYmVi/KIh1+ojzSWqTZohnyeww1xCXaJzkyVKdIldvRdA+6FT/pyBwEjCCue2CuKPMURo71wCyU4nMqhl28tOhS8depKRBwONX38jtus6owc5TlBheGKpn3UKHsRQZzrhMT/Jn+ZasWNTGTnRIX3XY76BdOP3VA2MN+4oH1pejILfIimE7TW1wavsClQsHrAU6/AMXRbnNXg103dOvzZ5KVXcvmSplHhFa+Bl/6L5u8YV/iO05hvW5DHuyx+09wZiggtTqiDNXeovVIhP3/X2zMKHNC7YP8UHJRXrtBpOsmyIPdJgbG5xJl+slasKM3rdxE5ECgDnqFW9TOEj4vPKVOP3CCAkeKGkqeJiS+bdeyQgm6NV0quOK42aeZ+k6XLk/XvFLYSyVVGGJjpUJ8eZJhM14oDZnsYYxwoP58OD4OatUyYhENj1zjIdXX8AZCVhH/q6sE/UOzIoQxKq/jyqS7ir/2VE1uqE1BQfHtlvzibMA3bgZEVM4MPQI2acCa8rSLj7rRVLx1QjY8DQ/BXEz3UTvIrwWnXzmLrTrCP2/gTIiBJsAQFoSECD9op9Tq1ltcsSZa3RPy8a3DqR1m3biwhrDNmjGy7SvzLL5OU/BGsTIwp7a1VKNSL6PXzhLHs/8EEh6XG8wyYcLT6Ptiq1VaGPTYn7dTkb4Q5bj1fhlhpZLPoO+OwLpS8fu2XJWU5m4b+sn/Dymjp2z/f8ptp1B2dBhv6jGbdjx+KShop/IufAtHz3xuoJAHL2U15Qi/44nW5nAPR9QyVNLALAVvQNKcUO8gLZ9n9xtCX2YHOQThu0hLkOA7BS3HuLBUeSLIdwA8RW79e2WxxNcsz39OlePXf0EBGmu4NAKH821rPyvaDGZJzmmcF/tNZeNiQ3n9LwaMG3cMAS58G3c5Qmcw8kMZSJveD3mfntwXLVHWfWwEtF0uxiWChABTXxpAkBBfuk41BdM15TfFBugLjIQzVwOq1L6hZswJyBuLiZneKAhbKqTZdNB/mia8RXjkBy7PF+65/8+8DZugUk0+ZnsQYFA88eBHAG1rgc5qAMtK/EM0BlVQubeXg/FcGlCMo1zyg1isaxpwDzsXSDceamQ7YPnqZucBNVLrJmiQPTPr2mk/BIfpa2W0e6e14TtA3y/i6/wBuP3kcGVLd9IjXOj6abuYxcV1eynE5BIzcqSgA8EyS6GESugt6DqGuX3OdonaTTWJAHuFAvHkPxXONIM2DxnWR2DiUNXV7iApcnlmCuei5tHP2xz5H6EI8U1q5nXUlKQgw3ceKA/DnOCQq2xiJcc1mghzZrHoVLjHxwoDz3/ngHYkttgTK3EGIOdvOA6RUBalrri+QQ2y0P6PSB8dJHL46pOjvemhNHEdaiDv1nkq13wbHFO+d3tyL8nZRBOpSWyQIWbVO4JqU6xLyYReev0p87+6G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a/oXf5nEOUIpDbBiyeHXG3yyZuMsxIKBbqB53CCwCPVfFVN389xat3fZHkRAMai9zQkM4gEHnNqX7Nm5E0u69KXktBC3UBmZbmmjR9+xIXw7PVmupDuCQW9Yzf9VmtGfFG3nrjB8hgq88gGry/EcxuwKJ8GD7gQ+wzw/pAePKY9YAGesuffCPcsTlpM8LdBAP9Do0X9iJhaSww5h+nnTZC0dXf9r+nlc+pBeV+cl93VQ/TtEPcdKJ97JXwsJ63vdc89e7+p+mZXolKq16pZh8RbCT8E1msZK8BadJXEJ7qJpOvW02ZVgWVcRmphVzCtDhnqNka1XSnviB905mHp5GGBn2qWQphYOIe/K6IIZwan2+B48fqc3NYVHc+XAtekohkbvu4Ub7v2mzgHbkPoz08y9Hz1mz0L0WZFwz6LHsoumnlGQrADl9d5RclNS+VJA6mhDDxeI0/gFHoMeICohfp9BbMMbPGalIzpyXwpoy3ObMckNGHlVjRwQUPZ2+ANsHbcZFQPsB5EuDIb24T0Nih/As1CruzgVkIP1SBKD+vnFnj6xzpWsllJCi5F4bcCJK6m6rBr6LRrw5cWsEh9CaM347RDCp44mU/ejCj/FCWq4BKLaO2aU0Ei9k+mFXUkLHvzfchdGxHbXD1IoxRTM0K/NvkR5rSdCICZjexDa4O5RNtT5w5dG4ILpaFJrwCTwp8aB53SI5/PhQEnH706m7xBAo2g4XU58jz+Q0H57+XQFfF5IoW2nmFfrZ4bZFnhUS+glRSuTQbCLQ69wdfMmXH7kBv1L+O8hPvD3otu1qG4/C6FN++kAJslKPN8mmFFdlRCI1Hm8+eBNMc2C119Y2Ct9KliKQsGJE8r/3KGD5A3SId1/Sjc1S9Us/Xvri7jiSUkTbkR/5U2rS9EAV53zKJf6agN186oFjzCxJhuewYTsye2K1bDbSFl90jQCrneuv3m2o5KWSlHc2pJVRAso7pVNn0zAVHhkm6vtNgvqUuIp/n/vcWN1sMM0v+kUpCnOA9b1WFe/NIZFSiHs2y8JyPwzP6I2/owlOVD90Acor1+JuSEPIt7DCvFg3te4xDxCKCOQ5J+OGv9yA/Rh74URAzWYt9Il8DcOYSrSKXbTcD1aytQy411Kq3cf8S1reWFARfm6sKbKpLY87DnqDn+MxdYeKVGtODuei/DT5P3qfEjGr2yyRiue+BatcZ6Y/MHc70c3RAWBme7TTpgkuPb89hAxydz0BcFRRntj//WBWMgap8qlNMxmvfxAdStj1VvXEEOWDfqFm4/REoo1mj/kIM8uyyygKZ6TSA6UmwvBDn1d2WCPa2ENlEOCgEcZskPmsOgSZskYiJRvO1r4QfOwfUvXrvBJQGINnrdYmKdqG/gYIjuZWqr8gnWNqD+Ndn7/z2vG8CyCSsxR8ZM3aaMUKiZ/DcpwPgoGGDr/Gp1rSauTs3QDR+JCmuw7BtlAZo9V+wLGX7XdIYzLAkvN0J829IwUfXu8pGGLhhWxCFDHgACEPf87oUdG+Kk68YNiQkhnfZJx4UekDR/ll78LNPHYNXZWAgcdTwpxOjzdJF0WDURfIIvJIwmk0sUbs/eiHm3JFgk6ruhrxTosG6QMFQsKDVaVfHnKv9CulRi0e747wKyktew0KHPwv0FNL3QphIFGBV4h+zmPRSAbTYnP8x//ET7yhYf7DZjJq/xSerwSgbuXREHj7zYiJ/SNChqflkmWiAdoBd+koqshqOqC6emFshG51ZiKwaHtU8VJArSK8qc+hJGUpxRGAfy2EI7PpajEAFHT6s0P1rGanpA0FXwdMxc3uyg9eay6rqFCF1aIi1KB4msMzcIBJYkXJZ9053hKLWuc5O2s5XD2ngFtoRVf/5JDkHGIAEroJJSnBYp5L/1EctSXh8DE2q9Eni1pQn8YzsovmRfWLoXfKwa4TxS0evU12wqYApwVXLxAnuxbhlcCfSYJG9tg2gITwp+AwdeGEEdtr4mI4OS0OoPfkagGBxiKdO8t1B7OyjZqRR+h4tmDJmeeaMcJ2DJTtJinp4rqxEl4wiExdySqaNCU3Ea1N3MZ0NGOrJbxmSMhJTAQ+75e0SO+77JKdkfI7peuaqJhlLQaGcGXCZkxN5zYtmLksCdJBs1d1KO4LqJJspJNd9VBy13ICRGbcvJntJqXDbOgwLwIjtLq719oQ7zmTw0j9B7E3WcZhZW2GP/f+URa/JBbPEnE1p9nGggnN+wFNhW9svWzp2417wF1omcd4mT8G3tbYFZnU8POlnouFIlKb0BXqjZX/6V6cdMd29Dt56iR2QQuASwOQTZy49kKndUrV+PEadk8l3nJ8d+jCV32R1T/Pkp9PLsqJBCeeTt47lcBe1N+yO2urmWrfuC9XvSs/HaaiH2yOus7OW+pkZpj0HizpszkukwH8zzOTT3sYWFU+XTOUbjSvz9eOesYkkbzg7TuHq+A1IJprovnkc1jdKFV2IlbIjI8WkgV3OZjLDrRRFGCQT11E/ar206IK3NYnpIvTAsufGgGfhZRbrwzsYxcVoGoU9h4C2jtjPYnbxLkUoEo/7eSne6QgPOyWaYHcEjou2UlalHGfT64jqHUrTMxFaXLLmN9Rrf3NSerVp5t0REZTSUqcYfB8CyIhyL/SLvPHk264iOzg9/+brCyTkzGVynInPPZSMSgnP6Otr3a3ul8beGsw+Erpnr7yqvHcP86WkasUI4BIxQRThY89lkbKr7cfF7YJ6t1WT4MOkwHSbEbfkciWA6GOyYZxlYYyDbygehqBnCvLg0wKH5htW0kqkF4sRsyiRvNko+lG0JZ6PkAYbAPmRMxgT9sl7vSyjqTMvcz83PGF98d9QZHRBSUWrdYvIlkJ3IwH7nsIcT3piP07r8aF9Q4tHOwj3Rc3KKmB+ClhtuAbMTZbm7H0Eq/iddg/xnKWPbho5qxyivqXmeZEg4KEWna/Bpkyt1Wk3oTr5SxgZK6YZNpy+JPrgJTrVbjoR791PkVO/NirthrBQgr8yHC8t/NZpp7xkrlT1DMSMjok7XHViDgCeaCtkESBeqFck1QNAfeotqzVbPbzHxJtCgNo1tuxB3YFrhPUuY9NpGLragDw8JD+j0uQHAGScE8bicw4iL0x95SeVAfR0itLhzAeNwXCPzS3Vt5aa4WQumuAMMAujZq/KhiwbACM35WfWtgGwEwl+1oQttepxt/CsiqfaZFcESBXXLNR8M3czMhHEec9DiGWWy6G9cd9IjRqJIiUp32qlKkuzpcFnNqDfKAB2edGmOS0s++4tzdqySq8+MXakZWvAdZfTNEdQv9nD16vyv00SlI0lJoU0JhHc4D4GmHSy4h60sdeUUp2VxGgElTMqIp9mz2kK6EdPkuTygOMYQZMbue9YLrZxNS7veV/9GSLn3uBDQZYjjA73sF5iTZZvj/DvkRNIv7EfOa4vRtfKjzf/2YcpFoIMkgzLNFNcJPWkXolCly+GbUZB8ZT7iDZ4211PZ2pftm67Q2N1YKz/X4YvEWrlt4QlCsshIu4rqycxoRtRYmC+PoMLCm4INoRmxN1tOEGfeSmGo46t7RdPBOs+Exbki8eLYZvnmAVxuRA9A3EXp/8IMbM8rdL8MHIqI37Puo0B/HlSM9Ax+fV35CRbCm9k1LbkjumTaWcyEc5leeNiRqEthwsOw6cOz8RtuMPCH2dWR5IgdhVuqm/Qv2/oCMNQENhUw7xRgBcWngAiBgXlKMNYmVMY4hQzjrfC+a2fgEKIl89iQxR6zE1bAmMQ612RQAXLdDr8sfy9P0MssUtPJkftGZKQBesaqsNTHzSihCQpoFUxQpV/I16Ga3c61BaUyOE9OS0TaabuUZyWe6Z/SMn+NXvnD+ygoCbY6za/dFsSQIzBuhfPpnphiw5v7aE/VZQy9mpagUm6ETO5WbvJ37EEg+t9I5rx31/SY5/u/kiAt46GyNidELezhI4iFOow55acbYfNRnMyYUEkxd3O1uTBZtLXS8exEKX8BGFoD99l5FPvlAMxUGznZvFm0g6iPZfnCI8PNn1BaM/Ef/zmBTzNpwOQpjVIVMPXjMUAF+V1DcKcGOwm4mZIwa7Z8xHR2kSngzxDK5eyCSbx2LOZE31Y6ubgoNqv4M+yrf+lbi8Q14GpNP+YmhDvpr6vzozaqQL0bygpPibqqUljmEZGZ1S49iZYb6IYFg2SIUckJefvtWeLp2TiAFMGTfX63VKiFmZ9F0XSLbOC17VZE5ZvSEbAEavzoihgPuNveuVF3xyH+nH8ClRE1tS5wnpEef2D8R3OBe++SxciVIiZ2YP+EFBY3FCG/S2M1N4x7LEfGWCvK48vAnl4sMtruItkiBVCvrzRqC68J4DtrWXBGctg74C3E8ZWGssOX54QL20wbP3g292nd5gJxlt6ZjywQySCtzNeRFs1BdoHIKEEg0/bFz9wDqEBk4onpiDw4KndSzziapK5xngntrveyr3OjFY+DZ1GPy3aCmUI0pXum+zAIPg+aXQBaD4bhoHMmxgL88hhyCs1HjZ5BwaVjiDOjXWKli8KYquATI6XPrBWLDAyS6S7STaBAitdcU9vivhAZTOV1bejZRBGiiC9CJnSmSUSK6mOEzsv3jOLDFV80vIt8xii9uYtQMuzrDH5rCGr9mahbVEuM1k35x8BTT6HzziyuaX7ZrdapAbK1nKWiMlyPTik2Q8rczu+7ESFyL9eR1phzaSkDq2l26tY3x7ia5VwN58pY6MEffQDlERC21G7JZ8GfUIA+SaPcPF95+wH4hf5f7oHnwOSvtQxBR2xQEMAB3ZwGKWD/q1l0Wj23NDo7NZqYp7R98yjDPJQwhhUZ2JsoXLKRm8Yw9rR6HoRqol2onju9n7c0x89sFLvfoEJU65fccjqSLFnI71WpQcn7BCVoV+knpHWvJnYliOq8lcoWv734oR+8WrRCm4JJ8iooF+8pHHvpV5ZhLRXrY6zgJz9RtSRu4fYaB6ZMz3KEAqYTbphD/flmtykpRuNrjKGzhz+9dCOPcQM0hFkZ4HXIjTs6y4mcFNhyC60ux6MvkUIVvt8oZC2zsREcZ6cb88g0cml0Yt00mImzPYBJYsS5DyM0C3Jdutb9LIYxN3XwcJIOvnRjh76xGO2hcgv/i0pbVhmO3KPBhZqUK9dWWeKhiFR8HzZxqJeh4ECyRBlew61CIxT2cbplOsmTDrCxMmouhXhHv99a4wbXHrZhEwEUagRMVhbTEW47Zg3XXArNF0ZUbWSD1D9WX8BmYv24VYjpszIngjrF6raYPshsR8/OE8m1ImNl4Y5jTiZR56eiWPQfXUgVA8cm8xFzMwWCxvzHJpzuNVC4hKCkOq4sfOY6ifYu5HTtFSibBTE9R71FkrHofVsP1Ozx1EDWgScLf2v+x8Ib3KaInlZQqqujkbXaPbzoLE/LrdFAeZIITyvGSa63qj3oXb36Y4h9ylz1/cGy8NKSDESXxjXVkPGb9bVgRXi4xT8rjW5eirIEbIscDam+u9V+OOLYddkEKeBM3dPUjPnNz+4vcKMndAaf84pnD6zIOT0JRNVDaEYQmWM8uTh6v/fKvSu3GCRIWvffSJyGxozpM97wl/ipBmbR2Kr26EdLhVmWg0o4NQIAVmoqHmXVpi2fcq6dX0cOoeFcAaBCFnebGqWuA/W+X4N+1O5Chsqcvxpk+myJx/lImIpXtSsmwEwR2H0lqitYwSBLGa8JGUtMpHKv9pSCg87w3ljZyPFT+juul38JvDt56cciPyGs8gckkNBo+2TzL9GFruDH28qkfiAtXrB/MIgRs8gHaRiCrcx2769pR7tkyFebBVjwRUnU6egQCPu4tdkfy/ipXguj2HJ0aJyRU2ZCVXG7+k6F4KiiFpG3iFIRCddakElXXBgjFohWQqcMOhRA8q5fIJ0jkqparH7JLcCaZG8Fo37t4pXhXAPkpJpFptWuEwbhk5dQ2L1ii805dI/U04pCD4NRCVVrxWtGTfMcujjoN6SlAzOObAt/vrLmXOyp2vO/AMX63dU4kFFVT3emZ2yS2QyfmypRjSr4+AwmKAYsuNpe8i71ybQoje9CXJoh6hhttAOHpMgt+uR8OfQPY6NMbPb4svQ1kJJcaHeSh+FwtUpHlf98NCQcSJawqNQpG+6eN2LlU6y2ibFGZfRbUY67oGsdN7eXYt3z+cHdgcZFYAmL5Wm4UeNBfdaA957Xog05KCo4jtkorjjL1tTzweNw/LbMyzDEkq/VQ6A+8iXLjBMOkQ2cnCZ1gbF04IwtxHLVPBoX2qXdw5WqXS3ZabLvFTnfTu8z4BPviYmuU6ffRvMoPoEkbMI2V+cFqAvKGJZPHWqDO3Ql1w88QZ2wFSas5XbSML3KiDZOg0qKE8Q5BZwcggn4HPjUzCFD8ok9qSn1YNBa/XDKE0o1WnmQGgLzIwUQbDcxPCspoxRue3EEoyfkVk3ZmckvFdexRqNvh3wjejyt99Ov2FSLi6cIKhzpQ7YOrpDDGq4zMSHUrYaxm4qGpQTOf7dTj6na+UKUHOWe4wjxZxE2x3o+0edz85bQd9PYBGBHgsxnRSwzzWR/40rDVNlxNhhVwVH6iR3Udj3x48i1gfVU5B16Bq6MvmVUofK6n5HGFQXtXj5EGwtBnZUeBIyqY/b/iMfNAajB4q0FRftI82/MlhykI8m4Ljkx/zn6iyX3+0c4e0m/G8t2QTv82RQ+1QP7zNWxurDkZAe8nHHTXvE07DzQR/vePWgtdrCBRUc9wDmMOHGCVw+CaX9m6y0cO5/0AnjmZzSzCKo/eVLIyJ8+MbnzTXR5FFZxT6KDooFrIXBUIH/hQ3OXEdH65kqf/oiSOj2XRaNFyrzwJGTdB70ixSxoH7bv0hzNYDwdq0YAad6zCsBCi7b02tr/rVrTLh7++HrV9joeHQhFndoVUwjg8O1MOCJLbnrT/C0OPhfoWvGyQrL8C63Yv8P4fG9IXCiHIqm9scUGsTsv6cT1NvO9S67pB6Ovo27xAVgenfzHreHetXUyg30tAup9E911R57GUTnsxOcuQ0N8sYD46zdXgSrkqwdp4sFTk/JuJQik032w1Gpd41F+ng0HCgM3vaSn/kYUlYSHcd+BDNwm3dIOGf2jxMg9rOvKqbsXOT0rb980KgEzErj2HSNGGyKN7FmjwR4A/3ngsv2ri1fldHGQTqCMkfhfxbpt3fVUlX8WX72zwCKKeoZfrfP7cEWmd+5dW7beOo6nIHL+oVHuSDhElO6F/wncmhcCguGccP8G37fWPnlXjfIuvz0ijmDXIqCPlEY6y84vS/lcHH7k5rOnKyIi3n3tt45WX0BGJgG3lViK81kqlOEcrNyIIFqoATZDI8QuSIy4u7Xylu8RGJbpdDddZmyys3b4efZ6sGb9v93jMXzmHKv3Eo6FyuuC4GZ9mfFE4EKScUlQIMCaIMPuPaqpVgOooWYE3i7T10etxuDe+ejn6xyiP+dRVswMcOANrn3QsHa0X3OwMzOKHeeh7a661Mh9PM+UFzFylIjRjMfwDHHGif27nhqOxNPkXlA+sDP7OYkZweR6Oci15OLtwvK+PuW+s376P+iI1RB4EKwJsf/D4fqBfINNESUxZrvJQtk6bpp+OVqNAWB9ynh6WKeCfZu3Z6dyjcjj2U0Ca14oGA+07RvwRNHlX69MG0c7IdA56LmqfecQx2pnpGG+bbO+yHOWKMDej/yoDjyPxX6tMKJuXQCv+jF520/0fEsGu61MFhnOC+zHaz9KQ3Q+5K8vMhZGIVB05G+CjPDeyyKLteC08G058k2L9h3MsWChlVsdH/xiQhnaMo0HR87O42Dw8YB9wLqvSWf0r/eYUMB1Rwd1LwTZ7JFzdQZ3eYLerJCp1a+L0Xgm67JeA3XcsQVw6qE+JCIV5vCYPKhjuwgNySkQYZJP5u4sd2/xxyLhkA53Kn+Fc0uYsUw2xvIJv5CJFhdI5OjOJhwCp6B9yH0FmubLxeUT93hVuQq68pePbBBdfl1JBdGyl6+/pkxSYqg4sCAPlr6I0W27UVF/4+o9+WdxRmTCG7dmPMHFHi0Gp2B7x2ZC+sPqV0h1v2Jv8/9vaHEux337+hhyrdNmNPrcKMawA5PB38EGGZxhxQrh011f7/Yab61OTS1wlO8nPS8lZSwkTPQtOk9AG2xBYptaKwod1Jm8yOdDnNZ1a0aqfocYy0d0PK/FAT7IuU6yHqjdlNf4Mh0/6+E5ldWFqIBpxQ6DPmmPCSzHh0TS0UH0F8ajkhD58yVcDTqmnSlRWiNRmmimBE1Mt3DHxnYxGVUnJvhKjRUunWOov8zwYqGJm9zJqFOdKUPz/rgBxbPhChi8fiRn8Xfi0TTm2JGpXnShYzDyliNxGL/41uq5Izz2e6zErLGUvNW4r51UKM2YiWaCUiKtuNUb2v1B1sg3CcTYfs4IhrYY6VjfTOvr06qQesi4Rf+1Ld1TRNxzPzCffMMp9FzvHmwuy4dQ7RRbXGpi3wyeoW7/Qgt+jX8CPDr0IOyMJ1dKukVg79c4kJ6StqF9hoYcxcniHcs/D+0NlY5TxOnxo4DKu2dtNiPy4MPHlERT/+7Ll/UhbiRknPl8WICC1lFg15FHgxwbkcKcHhhZ1aZwOoIEpCOlLKJckTAf7wXsYPdnSmFdc0L3oR0j/OgGvPtujsmLrZ6veH/+6jq5kYJbQcxrWRhkHbKl0zVCssMUDar0HRX6boL4Y66hCPST+3S55JiBRUU2ykibBEXLNc7KWdYlNA+8b1DvDvYOvDpKNCbyYT/T4sjXFRTdWgTw+0PEArFuIzN0AtH9IOWtJpmMP8koNgDzWuUcDmNrxj98yADLK4Igz4PET7axMR4bZfFbsGfC3XF7i+KJ02x6vFrXQR+8s5HNiow9FNp2gGmIyNmZR1wE7BzW9C6h+DMuPN9XmqESWFEteLmFR8R6lRjI8FSaolMGA+6k2M9i+PBlZfjguE17g7wdwQEF+abXje3Xo1o55CW4iVPHF01Jn2NPf7akybpOJr0N9Zoa5xU0wSfFSCqU/LR+156jjmGQ6bzn+GRWgR32F6Zha8JOIbKKZl5I9cUBX2Y9BuhOiDKX7OdAqQ9gNB5oyhoLImFksyO9mbv9ZF63fEJQEfKe+LxIJACiGazTwfzXnm8tPCJWhI+6GGuYt+geUcUftG6QTtWIvV/AYwGr1Jmip7yugPiQSWO5wtjEFKzeAYx8cqb/QA4CgBSh3apDeFpucMa5NHbEYFE+hiy5wmSWVuwgCNrNwsS/on6LR+yE6YORwoABdAwyd2BCqYINjKh3nX8chSzyk3T0ApyEHLz3ZcBAfakJ0++lRwJc64om9SAcQfrF7HP1WWSWO+U+VqZGhCXAmQ8jZXd0wtNne74t949FkFshJuRVk/x5p/3Bb3rnU3pfoQvbNCJb6c5p/PHlPD+/2gGfsMTARyffflOQICvGQexFsaAYlRvM/QlclL/XFiEp02LLxDomkoS8n4i9IXCA+EBukOa0r2ASpB5n3mh31fAXNGH+XZj1U6+BKpIs9somNY2H8cP73tjmjhAwgH/U6RtVCwFCp120KiYRWxajQygSRWu7M6+6eRE/m2yK1h2TuOPAxTXVuUlG5w++oU6gQydtoUTyTCCnueaL5pQMaicCuSnZZCWM06OPOS40Vde2/7DmqBUZY3JpK5AzIOmZl8dKDBTWq3A1bYn34EARprRJVuN2CxpUziFOiuJZelB0L8AfnrLbjEzaF8UohXKPpF2kBDZtUFypb7ayRqGKj/JRoBj39xuTqKaZ7GeDFc1NXR2mr02CSzkl9X+yAXw0CaS/1PyhhyXI07IC+TUPnwNkoEGb06awsf+JlXXQvl/QWWLaOv/m/xvxt8vmfXz0Iv6yj7Vtydr58yewbTiY2Ssur2j8Tc6eBVCnT9SAv66hjKj+Jmizyb/Pf+RUf3+S2O0YFk1bGD1FzivwCVnzt5E1uWzuXdYlw97HDtuKKp9Y6gcrswcK5jQ/9G+0Z0K0zGhqN5DpFJpV+JYV5d+XPJSsVDIdy50rVRYcCRtpiMvuwDrquQeAyaLomgbvVIrW0KqGal4ytLs8+7o5CnwhfaCk928ufOI6YsGPLdxTAsVMUPqlvUwf6UW7t+CqBvA0lqsNLrJaClOXH6t/0rarrTJK0qvueovgNOW0l1UwwBKBbHDD5C5L9SHlBr6kfRSwJMVfh+xhK7fFjGDjPhYrDt9NBw66bckiWJouj3Tc/0+5WbILBuS2hmN24dpvtMG3V5e1AJKltzVTVelqYV3Hky9lrpWb0amxVAReQgTuQg7xwrHE7ZebJlDg9oZ8Wh9i/ESeq2VJMZXFFy8xGPTL3g2dRtUpjPRmMDn38AfSoAxzzw9eJPUeoz4IaRMy4pO/hh33rZ530nn1CkCWr5IGrk11swKcmL81UaTxD4+1hgXOUWGyOsXyD0f5LZtiRtZs8a1TjrfKZbkl0lHPbUZNWTj6I3RZOF2S90CxqjqlOHdAtFCgX1QRpuVGmLrc/rnRCQzpfs2GBt5DrDHYZYURciy3WziIXiONXMNqtI/lUZJ7MkZPiwGfIujJ5+Rh4m3FY+evkZByDORD2cQsNYaBwq+9a+VBU2+/bwOFVZE02cTUp9x1y5HXIgtvDrMGTSmPsoxveeL0DZUHuneTcqA9SKd9Z6oHjOTnV/PYjsMwgyiGWFY1lnIKONZ10F+lPGcszdNaHw7k6sG1X84z2g/9MB88CGegK5zEoO8O+YLvBHD70ETw0Rrw6KGyjHkuJCt9pLa8C4NOZJcgI2qO7mZiJ7DFd2gxnc1dXE7vjFrQC0BmSnvKUyskZsoBKpgcIn5P9sbGgs59NmbHV+AP4JyAHtSnCucSACksts2o1bXyafYoGjHkrrp07gN9BURxyM0BIyaiNMFw0Dwg+JhSeR+OaeFJ/lMXXvQg8zeA0sXrbHRlCTiFD4THXdu7JGdHmOMf8t2k22Uk0Jr4txO490i5u1+ugnEnHZZ2diHkjk1hJnHchzzwvh90TM+3WQA4Kmoz7b/AoeZK1AsXi4cvIoofIuSzqruaHIkvqfSjU3+I3y9VGo7oOq7BPXMvQC3lIyT/7Si+TFOY4JlEkNQCDx1voqaJl9PVqe2aXDBO4+rauU5M5/E9kgVsPrcXDm8SAIW/wsezsFIziD8e7+oOJ983OCIyv08JbyYPZzS0NY8mflEowdGviLWm8HuOVYmvALsFoj1p0dTxJtGQxorxBEKyTp3RrcXnrDCrd34qe4viFkP/jn2w3LeknZaXSjZjfHp950nv6LFQ5eFyjauDpPvzlfNbkREtEorEt+m4dd3wKnZTGMS5/Dkp1zuWLAVJrqwuStmKKSBsvm9bcInuMPryRgNZEf/CSNyzZcTAgTI9D+kqGhOasETdOmblH+6UDNEUvhUKWPFgITiToXYEOKX5N3heNFCLT1WOm5vYOLSHo4K0w4lDvd410DcKNM/S28HS0678fVJ9k0+B+3HZuK1rCD4U5svT0s+dQvjd6RnNkwuCyDD3gXjk9GiE4BpyiyQsSvVV7Vwul+ynCpKnCpyr3fMJyxZT+8QBjROrxUSy+CsNztbs2W0ioun3G7AF0ASC9DugyV7N7hGYupdMIU5m1tJVLCmUZP75JGak8dHL0MthIFMv/na6FM0YDmRmCBPYjCHQlAF0CspDcwy5T2IdgR7MSyoy36zq174/B5jqiBLOBQBaBF6jQfes1zMq1Lge9uMA1x1wgvu7Vr3lXilGfEAYAfHMcgC11AEXqguOwFo3LHClXgVdVXNxr6YWHiMdGyChoMGGKy/xbVoOpSl707BoR1uNSEYvAttVv6W4797ha8Ib/tZEqw5gMnt3j4NawuBRrU1FuMl/7EIOST+G0arknt/pQKYhOWTUvDd1n7/BuYIoi1FHXasPc6rex+r/sbpWlPEEoPwCsU+j6CobyWKB7c92xIIuAK8rZREDoDQ/FAaEw8swP3PGL6UOaY3dMk8DFIyIsgpIyplSYRBSYJCugbNdZ1hIJjRm25s6uApSaFlDJcyLJHDyMcXi/b1/bOfSbSnnlE/OaH3qGCzja+qwokaf0K/K95rqzpgE6CTa7RNfbqEm2wngDuF4s4xsYa2AgwTqWj3qkMTiQ+m/njPTeYG71jz/LxzAQoMDIFs421HkdSirKTQFP4PrFdaevsjK+eVbG8CjqwsU+Uhwg91Gs858F94k0JGyJZ+wpyWm90pWAq0ZvxnPOnazd9iZSXNIBBZ4ha2tQOiT+yFT58cM7P+Zz3cQwVxlld0f64fNcJdR+VXrCebzCQRTJH0WV6AYpUHA9WLCG8qIAQvD8pFKYH3jXf5lVJkWfFd6r7lREjtpt1Wfj13cCNBb6FrAmsOI2qF3MpvimP+EvLKR5Unbm7nkAKpsl6Bc1X8Im/PVYWHdIdDdbZldSt8yXW0a962j2HDDfeHuZ1rg5eZXnD4BkeCaZ2eVsZF9d68ACPndPcLLpOsLrQvy8E/3z0Uxs4NvOK2RDXc4T8ZTJK1vjkxTsfxEZ9MJ5CSGXXTwOHT3mEGW3R4PYODv7AJsJ4rheiLzMUS/jt+B4AtW51fG+8iOxvkZGcn34paLUAcKihgniOKuNHoDrgVKRqQYXEaKY4sV4SyFCoSda+qWPovxlRRDR8qWqOxbtg0UiN7ZELM18bf6zt32MqOaruDJb10pZB5BFk3WDJKHJiyCS6Niwhy9emRQC2W+7q6EndCpJO8hNRhGhxlBr7fTip3N2O3OupMOSWUebknMyBsgTwNY6DBtMoADisec6MbPMEYy7hDtQ1zZ+uGPaA8q5+GTt2wqRFV4VchY44DIJSzPCfnQKkzHuM8m1w1LECpU6v//AjoT0O8YWvrrsqgIpx8eNljbz3IgfUa0Lzb7ZZ6rv0qqhMK2U4KrNCn8TyOciExMS3JIfBQd+43OtRNO1aM8rUxSZ6HxB93vZZZ51MtcclYtDiw+qMfga2Xz9wRvtaaGWUcelIS4leShh6XVidWq20qXAFdSmrA9PNHK+juiOZsSgZN6V6JIdg6gzg7YTvIhRWxQW40L4395J5LECIQr+jd/DqHyIo8zVUvQDtsNG801B1OafcGF345YiuxpkVURkDnpF++2T6dmbl4CZVLPFjNdFz2yuyafaqcMQGEVkxBMyyZajkjtuLOFY4+X8gTDSB97xqDIlBIzf57Jk40ThCYJGYHbF00hJ4V41glpyoQGaNbrAM6rW72YRgc7LWlsLpKfp2ra3WlUfg5on0rQaLJRogwTYxTX65tCWvfOoVVdmI6rxvGjvCly8grGOJVx3AERKIxV6/7HPdbHP1PzzurwEniyMFPa4KiZXwfljpr5+elZ1kB90aiKSWGYIWHsQguFWGzi0h/0lf9XUmGN+EqJX4pE80naL0cISw/YjazMhz210k2At/ew2xQxQBcRnG8P1yELCjHIR2PMx5fPXt65m5Nak40HZhfB9DOEWEQUxVBOn26LdcCPTmI+HSwURaeGVaw6hIBRc17o/tPas5kvb2BjhyuI5qyyVJXAxt7x9SRNl9gZjsRxklMZiEeYuiry+1o5PHMn43Dnn3u6DTSdZEmdtfSUqkikMkY29QYUej7/8Dv5FEiITDUghlCMHMa1K3ms5oy7KaF2SiU0GtqCINM3vz5rUTbYBZ6xtVR9gRIiT4FaEG1NmGzUlE7N9ALab6NIPMCBVhlucWEUARiqIw4ILk8aX9xoz8Vc0S1bQpmFJ13zXzmEqHEdI5GKM45EI3OqkyO8cINbwU24guQH7CEmzK+5GjUW1lQTruHpL9dU4ymGdAfcuGLU8TJZ6EvZ/ohJU4nth9z5ysMhcWr+dagbJ2bSbOhvII+bMj8YGPPNecK4fSxmLdeimA0x3SrWTU2orxiF6zQitFIAD4efKtMn+pk1+IhztLONDcGDIExFM3Iv5d5oXATBNQHxy7CG21nOVP4hYluDg6diEHbTLGJzZXB9wLSu+NGXzOQYjVZ+0H7oUyqUgahU3tsBO+xNrBPuyFFYk36z5/KQgVNoMKJTSbxK4QW28LOKi2BcxJyHrLNmm9O1Q2SM65M9fxQjbWBjHLto97Xk6iqbrXiEVJBc2UeKTucuhOGOavF7Z5LQlfJ1J4JYEJSdi6ixK/t6PMuJqTNQKUh2LNyDfWyy7yOajmwI7gEDxyh0uZ0UrREaWo71Yjvenm+aYIFshmJzGsZnCZgkPDLLpeCagX1CkjQ1DTXoF/wzwhrU25lTzE6iHYmuS0qRx9OVP/PkZuN6D8pz2PjSsv4BiwfRd/tnsdfrD3Q1a7fmVd7b32lP+puzcwLcCB40X4wO7+C/z9kJr2ra6Umgo7LPxVKgMeBpLBjJkv2NIowblc4M49f2YTQvhbSv6D4j9N1ADkqWijG3susaLgsDVzcf7BlwP1o+ujZ9bBi/d3UlWb26ZkyLIxpMCH/vjbO1LF6+S1vV0tu8L9WdtUJpCLEt8QrUXP4uZju4jh/tCI8udHKrfamBeUmnzDxjzgldiXzTpdk+CiYN4LemtqYfxjIf/8ISkDmlsR15YSshhAoQniqqDQaZD3Cr9OaO/SkssLESnbSkwgE+t6RNotMYhsjTQ6275y7bPGdtYsRL2PYfu4zafTcWCXz4NPacwO0CIojs53J0h9i7bl4BV2UqogrRuO/3XYnApESES13r8kws5z9AtEPsoiK6vj6D0GEyjzEqSrFVrypcoNnPiMKpKXOMiJiHKMmivUnBwcqFCihxrKKHXvpGEWofKBmibGXWtj+6S5NviDbSn3Lg8AVPDlnUV7qsOnkkj7kMo0KP686OG6AkhRQYVzHrLAPOmCQLC1i1S7OSWknTOKWSeGTFDkpBOrw+70jbafD3PXvcA5J7UJIn0b/7BYRWSA1dbxl1lvj0s8uP1ty8mzJ7i6ihs0gj7NoYggY2ZvH5cK3E8PkU2V98+03b7sTEdSxru9NlPz5nzsavFzg4qVP4ezYzd1p8svpIY6jxue4Ul7AHv+4ld38TFzS0Lrr9kI41LnEJI8et/8NCIsGy2WeRKkj1ZjbblTy6pqOe9FFYiUyvs+koSd+iWK0iIkj+EUg8wWH5Sb1Kg47zVKFbv9q7Arv9sUKFXENmvl2Dnaklnx3WS7CAjYvsjzOxQu1zVe4ZpudLCtr+9Ekf7ee5IUmRtKX38oYBbKTVJUvhaH5/RhnRlD+N6MW6IqvHf3G0LJMDPCWpzlj5BUYmIqZxJEgnvLkIcojgg0ThLjKvr7yXSnd6RGrPg2OUGKperTpJZGv7l17rVXY8vzz3stjK29DNUI+DK6umDzsrsQxZJzEu2tHTVVe4k6E5k4fkuZn6F5FocrUtAwf5zWY2D3S8VmKGksfvMgOkayL5rFVq9qXJ4CBq8X3shOr2NWYEtWCIZZY+3Q2gQkvfd0wMD/ZK8KAdjfFGgKPvESeDFWDyu9CDZ04Zq0s43L6hYKhkCo99CUrewX2/z+K4lU6vqO+zt6tejB2gSm+X2WtmM2JQTle03aiKf/sppUi0WhqM5w1erFrvuVDh4JYmdxhFqqd5eAD/ysHbnBzkmP3WR65h9PUqYc/Rx0GQsY01VgUQXpCH1QOqa8FlYdeElK12BAXfu67Rd5oIgSRWUsar4E5gwwiqRTCAf+5Ht8JxN21iS2NblQP1CA1C4bw6vsXIakHXTw50SNn540Af8QGl3O4wTYVd4ha8lxfeD6DMKNEOU2NkLzXNFPdo96CKwZDk+1Lbyh2y0Rd/a4DdZm88mnhEy9z7MCnjd7BbHMf+d5dpUI4NQB1BjEz3IiZK2JAQapzg5uUS9QBCceNdsyDZvsDmmzD/zpOyMV7eLReS7mqGD61udcrZ9K/2VLNA+LDXkr/v8omNc1jnpXc+eSgGb4LhoTZfQhNc3xQgovSXOaNOCMbTOtA5ntOgqX79rR7F0bNnlVQEKiN6RHFgtQSOd+vifw20F/051AO1AOL1KHKxRAeNtTXM5zqWwcN27Ka1Cm8bm2uWE6bucgrItSnygdjDtB88DdjU9X2I45SYOCHWrM82ZH16RAjXhVsM3URkhMzbbD24Jf58fOYflk923C9GYYlkPbMATbKJRoGxj7B6qEKSPdgCarqf+eazjFpmgbJSs8XIj++q0051QivFdZpqHwok8Tx3PbUob6smj+OAEyoV1jWD+SXJPRO8WdYvPjHBdNmQ4ryb9P/8YtF3YfJzl1TH8c1oe0Yf/cDjoxQOlwyyPoclalpjXrM3Me4Y90bXRTvPmi+HW5HgDPi3qVyrFDHyo+OlkKDuaQPBxSPLDj8jTT76wBLHs+9X/AncA+G3k6qsUE4DUpEOCi65rZbKgtkZA6fp++pVi9WsaNxL4Rs0T7KCJDydExnh6qA4WIYVvWdqkZ2Kpom8HRvN2LNLwFaPTmu+bGDsNrsbT/0qbaeZZfCsRNeb0kfGs4zT9+gIH5pA/WS2EX3qXD2Fqo+knwSZcjNnLC2GuKIGeyWuc/WM1vLuhsLuk5drmr2bu5puUFAIenX8FM4Gp8lmorv/U9+Rf0sDGr7Ev8FTeZ1fP+U0xDeBKfn6Hg3Pqrz9qfAMVPJbbdj5A8XIPfg5LWK5ZhTIeHxQuGD/YH599QNFTSqNY+cLU6vjHqi3k3xzMm1+H9wgtXoIUz0dtk21GlaJT8lUb2UM/hUWhsOM7XNn/L7ljxh/nbHfbZjJSjiNWydRNZ7umUrM6ouBFUCO28wc4jn0mSWhaGcebGmK3bzw31LnlIfRI+oanhrwQRiD+Mnh4Ia1U15Gr9aGW7u3OvBGrb2HJqd9EFepk2WLr996Ho2qpYVu8Qq9XhsfUFPhfSJgCsMHG3mEOGuvAehxqRnbMCM8M+x5XLDXLDia8mB44SKC5oU96lHKn+amdKy+jkgUDtC1beT0UC2DJUGttQhO5cJ+160TYQ5+NR3F335sMTkCpuwX/e83aOaEXOaaCxBpAlsqL4OZdIM0dPwtoiBWQy0Pjf75efM90YreSJq1iOo8SgixERrcbYcQRptIRqqxJL72e3BBwnb9FFgx5Nmji7VOEAi09ES7OpvH6rOz9EiWn+FwSelGcab8AhhJhI400LAiiSGQpZcYFj1bWxmpYAq4dodBpYa2+MpgcPPr+TJmm6IPcMei8pfOvSv6YgC10G5cApDVKhgLOLZPzwQZgMFs1jtkypR5Li6dFVD9WS1Wzp4m2DrkC2qZnL9Vg6RB9faUZKGCwajPV86Ew0vUvlmUHJpSviFOVJXX/B8lWLdn5K7vCzeFxx5n/u9aK5ZSTrFT9SHrXlsyM99Dz3YfDDvVVGFMY1OOUMYm4rbd5L8XfOoT/XGxU2v6tdp7EMQZxVs7ozwYalOaGeYoTTKC4koTUXCTawEI89ZlQlVYwaKBReJQ2P3oC6xdrLLVc0lie2jELjq8CPJWHZsIy1uZFZ8GWKQPeHi3mUvKVAwf+yD51Chb7+ykHj1X3xR1jlBEwiWHQe0rGKJvBssWkIXSKKQMasP3XKCEScavNLBhYZFoxcYiHTPORz2+NsXP5m38T4ttfE2drRV/OuHm2gEpzCHBB66pCXcqaAG896Rn+OpxwFDFz8tn5JHd0K50zO4+J2xbZpT2og85j73fm59rhT7EV9sztzUnR968le+gNfNpFiUKh8BqdHaptBusKx3Tt5gMmf94zSAEtdUohswS0HuYHXJTktjDU5r7mZJs1Z7iuam4Is4FL60uW+AwOhrn4r0cc9dgA6oiDQRuvOie206AzBDGP8fWIdwXKE2Lef1fN/FtzLdatIYYOegyiz1sij4li1uQ/fLG1L7KcoOBerW2CU35dYRhjaAPGPZ4Jrd2iuyq/SWpfJbskR0zXxu53i8jT6flfH07I2/EBH0bUc/dumVTyg3pYK1loDSoILvEhqZ8/GOro81x3+Qbrbh5R85l44q2MmyTiS9xDPU3kEQIyAaallP4eve7gru3G+KUj3kiOI/Q2mVMsMDeZhOZ73ewkqlpMnH9wYTuE1Q5WjO5wZlUtvbs8xLMHLw80Im6dcwEtkrTI0JJs3u+viTLg043vd/A8V6LTkNTBCDQWjVg0EtCHQiJIipvjSjqePmbx5uf0qbeVMxM4VaTjsnkl3TxKVksdhupFP7cQFNNmDqi/nE+4Z4YjNckdG4R+LbxZe2VD1HXwWyeTSVk5sqlh4quLTJBixeEYanc9gQ9l0DhrpAz58QS6+N2oOfsJ+vmoDCgwZ9t/Aj6W6/9b/Xi0soQUtil/dYQCEq9OGIudAbSoZM3k6V1ZX6ruqRrO+gtALJIFCSxT4jI7O+nRzxZpo+BXhRuWSWTLA2zU9F3zzjWhlF1+ACd5tt28gSVfl0RjbzT4r2s3hT9Yu0xWTGFLXOafn3YESa0L17U5EoGF0a7vyH4woN7LQS3Jlt+CrW/qLmApRD2QBIDNWVrIBHHR7EMUETUkNrjWto9yFBeJZRnu8fFE+jCMiMUOFznVpetclgDgBMezSp2k28GBkocTSfcawPKdYt03HNV/b0/AjZf6LiTdzWQc2/jeArbrAU7g9Nwf3wsrqFEMR+hpjIW850MA/P3wyTvnpVXZij2Lhiz1GfgZJ7NAEhHIoUs23bXpU6jfzZc2EC44/heWk8+RgaDiQzhisrBnu131yv45hJQyHmIuWBfiB63AZWZ9quKIeKnPTWohvdbzFiolG08KZ2XHbRamn4/bHvOdpGThsF7y51rePg6AJxBq7tWD/roUS/x+h8KY3HnUi5DJUUvsXt7Glh8AdlK/8BZFgttTSBcSilZ3a3SDKCSXVtFssSzVVSpFYKmnBwtKWXIIULHrN+SxItFW+23uYVNkwuF18ySrY5zThgUkhyqMux7mB/Q8qXaNFNb3Gy/acbc3sModfOxZMrLraHd7V5zsmvnVYlpL7FT4INM/H8LdtHOJhhqk0cSB4y1GbyTJSEE5CeoJ3RwyjjJnO6eT2I60TJBJZKpfX3wubdAKEB6+WcbwkHTqqdRf+tTh49MBCS6AoDHq8S5VFa8v0UIvGOHhJFc+vDxQ93EbrX00FP8dInUjLjTv3ypeYWxfmHQl6KxDqkgB5cQsaejurbOIrHhhqSvGxutqQ6QrVMHGnB+JOPwlohPRPGcCR81nxcKYw7man0xXMJ7Lq1kNn2Ms3M7mFFC347ELGBa+bFngo5qQWl/zTp1CgsqG/YX7TikYlxzCCQG/ICDMqbJYdnVvP5srZ7P8D9I+xB+Z+uWM/jtFJoGbueX9ofQn/B7T8qzRSw8QqqyhyUEUKN54Q3fLQrib2ZZG4O9z0LsQJNkiqsdtUMBN2MxAIY/zh44SwiPUlvnLeDvtB1t8R4VKVR+raOKlppXcxl2xkAzesgs8clvqGrWGufbmSXPh9EMD2ldkIREGisVthkSt/FQ0azdfoYhgjtssBg/s24lEkpqIC+WaHQpC6azihaAT9Hm5YgThtWPXzYA3U5o03ypnNdm9EHRXI9gcZMCBx7EV0Eg0dzZvCRJpa8HD9BHeX+pxbWKU34r3zokv5Y/7fFYv/nnT9sTecj/SPCFyqV5ISQB4YdxC3lEY4Z9z4+Bw6tof/2Qg1xOp4hKA5oCRRXjXR53YKrEO4ci1oZuX+ZuU1/8aTA94XU7o/lSriAwUtjIGuJlYI8YUXrs1R0x0SGNa4QgkNoeVtNtmNNVWshDkloZYkrjYFUNfUt/GyxL/IskJopYpC8XzPJndRHgjh8Om93fo27hJDjbC62+MBA4h7M/b0Be/0Ydk7GFDatBW35AcK34pFprxJtprUQ5Q63f3iBAzQ+IyJsCsDOvtczUVX50VnEipry1PS6TG5qMMF50yPq8dfhX0qJuCBj5+LV77qK4+eyW7YL4YuxGzhNtmgXkSk1J4v2YIwCLdb71ybGJbBrsymEi9ZSlnXcjN60VGRu6Y3ntEtsVibYAHaANtCMc9LdnfVE+gkp36qSKlqFIMyEh2/1hBq0Ps+6kbSc9PbZx0j1Hubbr8rh55e/GOM/8ikCjVjZrp+cImIolR4BHsvWZwqI2/pmKAlMxGXmS9e1PvyuEC4ExMs1hqmipmnZljjrkdwjrT46khzJGV/BJssFp/umX8QypZd2HowOBxWjLETf0fi6xPN1tmyY/Xh8y3h1aXQ2Na6RBYTKt6ooMpoPfJzqqzRlRjDFzL7dR9QF9XDTg5gMY7B6IwxI/ZrBcacro3SGdCLBDwHaCGw5J/GKTJHUAMQg2jNE4uxZCUR0SDbigGsoquViaq11AjsiSkkSqPpD6fe+N7ThpAJAtxhg04KrYfL80FR611qXxXYtsCBmoy/Ywwc4/ORg3eBr62S6ImsHn0cBIE6HQU3gm76fJ61+MT9sqWqvk+x7nAG1ekkaxY71JOzAaziXdPcKauRoVQcjo5c0hmtW1gArWfcwGeBl+VzClPAcRemcJHUI+KdUnHqPpykTX9OZxAtOVlVU30VqasYIPuI9mbJBEBkd4ixhyVIS7v+BoMIHYmTsmGcdOEgSeE2qRfFrsc5+EdACqJ0puY6RGIYh8Z2W8+Oh5zJs90DIar+acyFvXtuwaNZHhd/2fRanVxtOWwOeGr7QulyX71WbcuowSmeAiueidglrqQ1HA7xrVXua3RF2d7lwU6ELllwkQJCGwWt1b2QyxNg79qE49gzO2Ksmm6jZw6tAyUGQXzMaENKKbXqnVSB0C/S839HGpryc5pHJrhVh7lSjLWEpPMYJLL8IKAQxCn+rTszZ6Zm6WG+ZfuSkIaYpaA1eDJ0D0r6T07/WmXUq0aeQ6p/bD07i+CvfmJbFS79v+q1A7/D8E3AM3RbaiIUyHF9ijE4B40/YC4iGuHuevsZ61ZgTIkB+ENzT0IImwkx5a+MuQEbGM09t2nYeX9SC5buym7xLZfwZNgvLPhxHCjDheqlm/+/kH1YrwebcFwDApZ5hd6wc6KfnTOxkIWp5IlhOyoC1L8zO+hqte5aRnZLSfpsk6P4sEULN7W9LsEZS46H6qqHa8awd+whRKX0mmq3Z06mGZRVfwuUvWz85haeRZkxP+EUvKWfjmN1dW9LYzyI/b50wm00qo0ur+KWh85BHJs2dQh+jpNQMdRQtdogygyqrp5dvHGvfXBi1AUNDzJZva/1hqzgBbITCcOpEqOqOwHtwerjSY1gWz7AZ7zWZZUXgHHzUoQf4sNgCyC9nIF78hCUP54ShE9UsWN+T6cw1+Nx5ZBKx/diXqrGfIi3EzBQhWlEcZ2P4pD/UlR3A0Jef09iaO7Oy6+/xx07AB1QLZK7bAzwZ0Fu8ZZKYX1+9tfqoHrMhJfSIb8xobWDQF47jbt+QgQaO5Zgt1ldA+rZTOMAxE7tkDJs1aniI3aouzycAGnwci8LhBReH0N49hXuRKgI6C4u1/mt0CUl9XLkrptb3swHKnBUuAcUZcMRuL0/jNLjR5/1bnmSqog0QxpVef36Aa8dhmnR79EeHPeGBPBgr2d/uPM2jdhCD5ld/nHl9V982kk1gnL2AoI977FIKaNJkdyU9mwVVGLN2G3mvJhT9RlPETcWO49xhUROaSsZQOHPxfSFHywMIP0T6SmyPvUbF/KN+BjGfhkDzPvObYDsWr4TniRsmrweY6HZ/uVcKp7f8hMljODLjU/plmWZrYWoibLMjWcsWIjNFrJINBRmMhc2xg7Gg/lYIWDtXjZWW9efshVQJfaFuM4M+Ax3PbC7x+wgCpOq7LXPjgcFHl7LaM3k+jrPT4RZAlMu68tElE2+UiwVXXpxfpOnuQphixQtY7Os8CrBIjNjVbhcw1SmpjWehdLBQ4H8zyUjKfDOrF7xog6IxUjK6B6+0kVzWUSx+iVVbQ4FxvUyMoyXx1t5IMPQHBlI5pzFI2JuYslB+peGrEdfLgLozWJ7YP//2RTQtArzouVb6WMDfgGRjTIy+UJsp2CGSuoqVuJtmBAaW6S/7LZEkEM9mr66qpMpfxLxLtU1sIm5Ur+Zxh34wwaz4hL1h9BFxvSzlz3/geRxZkCRv5SAFo72hk2+Jgs0xBZ2ADpDc6LGbVgR6JM+2oOFoalPIO8oYgyAdgO48CWu1ooP1lg6kbXha2Dj0VcSvoGA9soRRIO3JyIbnWxO0krAE6rckXxYCNAp1hQ0i20dVwzXDOgTYopy7oODFT/+Z8L4UDRRH5EHcjcirzUri5p1XutRkS8dprwq47vH781tUcsOlirsTMN/AExpg1KvF1h4VoJ+Zw51emSbCQZSu1qGUGRX8HEAVjJ2PBz88APS4tAufwyAMtr8LUnaYjR5pxOQlzhfUjQTFo9MsrVVc2nRMVP/YEHGr2T8lq+/Tdhp1c4e3f+rEnCy7Fsydig1oiNFOJvfP+pWdGjF3EHSlJf6CocSLNTKtkanAJbEP+OPPdzIW/144eFuMSuQBMed46s86pgaz3/BlJcO1vBAfhjU9SOhj+53RdHd+oloAzzqXXiasVMonvJTeYSZmWetO80XO/zk+jnrQaK4KjQQ2FSQcxIZE+GR7hluHSk8Gr/TPwxmKq6BF4V5zsDrFvUUkvd2YoGE5C270bGoiEgXvxPeaVLPw/76Lp4z8wAdhIvpnKe90GV8nQo1HnPMtpC1CADVK7guR9ztgxd8WgMV1vPBOcw71ABfgnkIg346Cs1z2EfqcAGMBVsvmjxsT3VH54DJFTAGQtEXTptSu40of3lmAv9HC1jQCA1LyFrtGSYCu+efSiNc0uH9GepbgJKpmPB1Vue1c1zBwdkNqqtsFnCD7DOUjAjxZ1PJU8ztMy//n0Iu5u/SDyq7w5g+TF+r9dhhmXdW3poNuAzIgavwZ5+E+WkGY8ErseY8MWG2oxf9Py89WBs0beZXtdfh3vKEQTcwmGGIpg1Qezif+bbIK8Mbny6RGDNkpex86116Wy1HB0uItIYHaKQC6qpanBMPwqbHoKLTuLVscCdv8U6Zs45MRNnRZr9HMH4P3iYXobD9neitMhNQOtBDFUSpXp9mnPgzgNY6QI6K5vzjs9ocqU5b1str1rZA3v+bo219EaReZavD7hZBtRu08ZXeGEQJzEqjV4fA5H4/g9fGOSYmRVNATbjtJ80WamIBCS62K1kF46vDowUKbx/+qbMhsq/OXRjb+51YvIKSasWVZquhdFg2lJ8A4l5CeBsXV/gXHTBuk1M/peoem6eFDGilnpOyC7odwBL7GYq3pOavIzhmEkV1i7cooziJHxPoucZ1p2n0/roAMxr2isq1KDeEOSh5bmeEuoAUqVAWFPHpi5m50rBh2HtvLsimQaLKbF0rtB2iv6wSBGqnfcALsAgwUFwuqBxpItQYKhs8K0sgOeY5mIGiS+GpB/lbbGYOaUhfOMFteooeFpKCJmUEZH1p8PUaEXf6IgDKuP5Yb/B8o4J0TnfdhPiLEdobKVaxN2O2jxRgGIOJaO9x+YOUircHWakjj9wPNiwYStMFG5LnwmkwA2zmPihd0xY7QMUhwY3j+vl9FjlEQHXR9zp4cepU1SRXPCn6/eunnAMZ48547hmrP/DuQkp4/1Nh9MH36RoQwC21cJWn81sKjtbC7Gsz0CQdQNex7MtNFlps8kn6RdKpqxQdwtK2Axsfx24SdMCRzu2cKoVSdDTQWN3fyl+tdFLM4cMP+3c397khdAPveewYoGkCgp4CACWuC9870MH54imtv4dwmpxJ9gSByI131/6DfcVX7jztYwzBaJ//XX95QqyO66f35i01S20KYsVZijGaI76ZDlyUl1rgmkodanw7f89o4PY5rTppu8owlAyWABm12nPdx7pEXR9EZlfNh1YGDVXlSF80T9XxeAMb/2sWhL7AVkTyvYmG/S8+q9YVp36iWBt5EArQRGdqVqWlPM+Gp8CHYKOdwQD3ocpSue7xY+fWJ7zR9QdzrioU2i8NGW+X41zxyPqVsSNe9eWvLCJHMHjl7I4RGRmOQfCgZ86kRd6vgCwtGvVjS86IKNc7ntwf97hab4ZQ68NSwU8Pt4iy9EGEFOkZQaAtvfgqxE1GUrA/GzH+lxIk/Q/4hjzVwMbqHrrDsMwsxSKar5MRqg1nP3UxJc0wnvumkaLIl8XIQtbrELHrMnvcoiofHTmd+0AL+YIIuIGst+jwiKRxptNV1GVzBv5soteInKSUF0qCEAwDQ/57k1TfSHGHVR0yXk/S3dKxNPDiohQ2eUEHP7Szl8F9zya1lmzPY4de5o12LjG6ABBDkiNoW1le2SwNmJ3GS/W8CssZvO1SRDmrCrL9f/8y7CWbNzcSMd/wqcKGbqZKd+bQnYEe0qgJawNK8bRTN6lIeKV4Z1xEgUmfg+ydkFYNgXhYJW4ZWw5b4n5hXI8QUTFKMZIWNrnp/GMOi9iWJagzQOJqYEQ2MsWSLAA/XERAPuPTjo7j3AwOrtcxfJi85+RLDkvAXFTQEfy1K/BR0WTRqnjRyb6d0EX43TXRoN2qGj/P3ftg8smk8UgXnqwHQrLW/HFuPj607kXdaMUO9wNj+G20vqSp4ZvPIOA5jSiXzU00Oxz2vE26zWeuJVmgBO3GIPE3vuKUNRRiNidMVSTeGF7Ju/8dHGdD9L/HhKhYZbo89m/9r1QXyhjYMJeuGGdNjqul3Y/GN6p6NVYbrzY+bdTvL2kaCOqME7asxwogs0sjuvE8yoyGf+Lut5yOFzPVbjKBtSYafU1zAmkJLUVkZbucBM+zb2jbJ7ipBiQl6URxAcLPYGDYIRJp4bUk2qmm+TVaN+AvWZXvem2gXQYxJzXIKLTyoIlZonEcY3p6XOEH/illNdgxsNAByxn2Pzlx64OFfdBW9GTKJw59PJ3pvSw306qGsTUwjoxeII718Hfwc3V0Pq12iWnIfwIrkEL7usVDUNZs47cIKZSauertfb65QshRwTwUCr43VNskTCB/z9AaxSDB8sr8/IBBi69UJ8wFlfIu2Lmpxga3vJPMvBk9HUQwNLFd0FnAV2MYMI+9fUDMY9p45ibBSbASznuUsYaTMuJSpBf0xscJ6OVelDulEdlFJsJe30Ul2XDqNnDeowkZNMfyHqVXF1rGBxM7Gkny19UveY1o9gdWvzm/irtN2VRHl014a/87av2aicNJzfvQuacAbOcFtcrMcYSAxhojKAexVz9m1CGok13FDnrCpXLz8Z15QWeJ8dQjP9V4aQeZB2jpEM6a6LwM1DOm5UL4sB2s20VW1Y1Jpa+o7BxXvKjxu9W9IDaZ5/SwOM3VBmYLmwdox+9j23QnRTZhWMAZR6IjITslmxdNvNE2WzkICKXniJsxsoMOEBGKimtuVEQqzEe4D0hWAn8j/YZNbMOpQf2T/cHigT2844BGS+GSltZvqX8TpL8T3dK6iZLx8V8o7BGVKUIG+jNeU2HCeRHAG2Omub7WBV7xi0GOnXDJf3yzAWd0lseKRpA6ApWRLONN27by/VuK2K7S0k1ASQBSZ+h0hw++jEHh1aIWb3e3kOvAv59++TN+uRqfphHLIfV0XfCzUYmiTeRse8aZsagUuY1itaLaZ0OmYeQPGhLWZ4etltvUFKQJaykcYdDkQFl1duNHMreh4AKVGLjKgttKatEE662pIKSY2Z4m80mE7isP+LhVXJFYqs6MVK7DX+h8I/sAcAimJDJAo8UEUexhF+Hjsppac4YL6wtnud6x8ViveOxFn0kn/j/ai5W9KN3PA9FKhjCJ0CmIbZE5deliBfHFTRh20uht5WkhxXFl9hY8IF4BAz9oLqbe6PgM4RhryOxVd5sinSvzqP7Kk483fNLu2FpqVS/JJJFhZHd+CDAeRMNN0saUdhP5ALShKQCYMTe903TeODxCfONxbGzWTBXwwOcnY/fPwUzJUNkVhXPJ5rUCOX1EJe47xEGVDPe+KUBneI1kGoRh67bHwZ+UZDNw6ICHNiVRxMmMrKfrkVbsEroR8W9W5zbYjDoztQOh55BEYALuBzbDZSbLzkDND6sYn2ix7IENSUv+/TQuIR03oNOHzE9/5BYxEkWcHy0MYrMzVVwEu4GQgCEBxf8mbgc1bZxc9HAU84AazbUT8rmWTxJsgARS6XyFMmCp+24NJoEbXhcWsBZo8OAkJ4jtd+NOnzJ52MGIF5FSZ0/2ibqmfgVtEgM0UrPlEblxXxM8cswyQE06qv3xp7EfrJ5NbYbpDfC3Az6hExTboUlrAwCTuuFUY+7RYDaJ6sHHUEdjdVa2XsA6c3J6nceTqZNPvtKRPVIdDwOwF82uSxVtpCHQfPC/UpMYHkmgj1I/J9sPpLZ1cGd49yqH2vCfpo4uCqHLTCksoDUZqgFb6I1NMI3lh1SEwsrcZpeVF3lgKiSoh9wc8b2rRg1Kwk1hJbCAHdrJYnZc3Y8dWRUEso9OsoVVE6lWFDjZFdpukCROHVbkxqmSYTWg7EfP7AmsxX0oiYLWs8RH+Q0a2jAOXuV+DkmJTS0pWAv1PMQgyEFC7b5BRJWRuBu21my+oa6T3fiXZrMA9+yIXIvLFF1eDLfrXOflwdeHZdOu+Z7KgN7KycsmUdea7jCjg7RXJYregFAD9HC53Z8HPNPvxuz3W5MM5uLdxpliOC4GaUgk6decEZkjtSm/OHgsy9EWjKPyFp3q8xgDZCGFzLdgqsy/eVqAi2601Q2iKyCaoL8BMPkHKn1E8anmx81wW9uhAKxifCz7pJwE1Yf7x2iyqWxVlAxYPMIWmgdchfCxzs3wtuB94O78TKVxa/tKjceVfyJP/CYl46UIrm9MRzE7PEnz2OLNafQvSMM6QXcN2KczRQg4DH4f31SZJ79hoIcnB/ITUtQhz90BrXgS74lXs0pNLw/rGWA45lXcBaJJM4rQQso9tc+e4d5OpqUEUNltMoV8/DvE3BxWHHmHddwr+jrzsV993xtdzGTEZXWxDszvwDf7F8kbvf1QHYMfDx6y+L9+uRNyBdWPi9VYARBKH2Z5t1BpNpOGggtsrHUhUnrAvADNHcn1t4ReMN0zTK8jpl8yKNzXvX+zkXMvIVi+6eFvxh0HZa1XSzrhC2dAFbVJrwvaAV3G9W5nBua5FlBDBqCO7dBK2Tdsz0nuEOUs9vwT7XscRiOQWh2Ex46E0ZdqdW56t0lv/MIqXayULWk/u3a9exhMCQJaBfpxzs5dm+EnAIxFCj+kjwCTO6Nch/U8JoyaOfsrebc2lbkwfBnJY4BfMVngmfwWQWO87b27v0drxog5mr1C2WlJrm7LnrOcs5zAc6fpePbr+BAB47bkK0IBXpeZ0Xx7mmQW3RYWjlwhPLK1pnNMHgaa6N9DpB+FO1JiaPOTE/Ol4AlgNOoJl1jXIfarDWMFfW+QITXD2l/MnlyjFqP6Tdf4eTe2ZWDrauADILi4V55FSeyAQ7jCc3ce13CIMUqNZRmI8rmvMJbwxaUuHBtuH/w6L3+TvD6SfdrP+GINvm+uiexwn7RX5LshDuOBycEldsHUzHeiRJmWS4OQsZTGIkqcBBgTNezFVxGhR8iLjLzMy16f6otUwXj1fl7Em+KDjMDfAx/jyjy9upnRXYz2G7zLWvDc7oGbaulkecB6lCnUWuOXWq20olN37Xjx+QeatkZUCeyA70405Xcu2IrxvViswsf+TxWJmYp7X/2M1U/GGv109VdA0tfWVIwQhyQC7FiFD4PD14vDk7zDvjIONVPmLMY3VPdRpo1JWOUnP8jO0wz0RO2XnCwF0Hy0eGX8LDJyHut6C5h0hEsQJGpGTgS5G7/k1WIPRjn4NG4a2UCnoNsOfHsxI70g0IF0FW4B24eD/xryZc7KeWzPZUyhOQL/0Lb1GjjTkqBM3smZV8B/svTIYHfQNLGEmY3wnQw40ockN9b9RSnyAxLCg9aurHNbOnPftCl6Ki1B72vjafPXVv0m/m2/BBqFCybyN4jJZtZwlmCXTt4RRkIVQahtjO5g3gqyaItR+PoAVekNvAdob+416HY4QxnBQNIbbCc0sYMx5hw212gvzarlIVOkd01Ld3oWBxQ3FUM5XpLw4QMYKI/7cp4Uvnl/kKebzUPHpuUiUm1G8Jm0eZ0SlKemYTCmNv9UGLPNrt6zRW8Z7loG+9xx5k56Vobgvpv8hoChUy6f3Sh1kJPtRrJaBt7nfOvcErI0hPTkNQMZG1L8WUaqxYVICUnsVXxKpYkAuFcCXjfie7xtlENHULPnqWqM/avg7dhLSkOgMDBXnUDw60GGfzwp+45Il+ir4htZLlo1qrNpK2zVhme0qWKdMJwoFNXTuaaZ86MerzvUN42YZ8pLOErlSVA1VjUYM9rZp4ngKCTzqQc3Xkn+YOFaGBkx9iEEas+dATPiXhiO8yKrPfVyH3hzMdLsINVxqJYgscSAMkUWESPw4Qu7kmJ2v9ScvVZypneGhwVDyPWb6NzA4Er7sH6UuOFppqalZTleyOpukudySKTRgaTLCev1zksg1RwhU+xRSUosRFxtgsOVaTNp7EOGG2bSvF/DN/SwLGCYPFCPcjkfBsBMkYEN805YXLeWMGd5ZAobwkzCeIg9EkekRN1OI22hCJTCN8HALzCOz2kBLNg7K7bVVBqPKznSOZHmcoM2EWfXL2bWYzGmMtE1t1S0YyHB+TZoyNonCeyLcjicGF5O2rqZv2gKPN72K+1gWjFMlyi3YhQUJlT+tCf7dK0NqrPOZA+V30lo/b+ZT+Zb5jB8aSZM1rnqjC9859YtHXehrQV/znk1LWSikLQxmmwuKbD4t6MyeonBp3YQK38CM1YA0hcT0VI3YSGFrwxpYaWIb85vLbScT0r5wbUQeQ9GLWGyBWjNdJhQb961JEGkHR2k4O+jZD9JewIyllbOMQIkHMjwNLoJlTky3AlOBphYVE/7mBr7vr2AyKsWstoUUn17wPI3w7kNl6+c57cB+RnuiRrK0Q4V8e/QNBzbdFOhmtUh+GvMlnvPTFcc7EfBHHqwdrDUbhwor7yDjJTAvHNCyCu3LzQ15aNSq3e3HT5RGQPzTUe+QYvTOBBAESVxk6MS6Jp7BOw4HxURm9rrbRsG8DDIt/pSiBJF1tO0sn4iuV4EUZKuqPeWTd1mBjunlayuxn5mh7tt6VOc8O4fz1UenroFqsWG5Zz5U91RvayqAk6rFyJGSEsieS4ZOH6S5KPvtrw2uQYXeKbkgXHiJuqzlL3TdpLFFDL8MtM3GL84iEgyjnaLyisgFQItRaKne7GcqjK/hhqSHgGBiEOaXa2QjdRN9+CG7X7yzyU5supXlEyffK1LslHUH8YQdJvzE7h9gUtCofn0jcopzWKqbCya60k10ScTt8ogFLMn+nC/lVDVcWBUhXGtIpMq8uaQHXFUfwQdVVlXD7pb9z6Udaek4B9tbPbvAUZZr2qbLzScmn8ZiIbsPRyNpY2940Fryg5gF7BW4Imrixduj5zrPUTIjQ7GWA74zklQTOzlL6lYsXGquQ9EimTuWo0R7abpNeNPJb54d1LiSwAS3CJCgcXn1tIFKit0+5Q8qzW7pGLehi+rIuOkUpHiziImzGTRQZDOL2khPbpPqC29mZSOT6f7T2TmaF8TkofgGHwo007uwWGyb3QgH+JcZ9T28mEYr6NCF1UrTGD8D4fqkYlNST/080H1TPa0vGQbjR98KtT03SJ/Ofrjz7+73pRU838CDf3wHoDykLXUHrQlG7N3uOJsvTy7ju7UEKlzuih2hnKEO+PZUFlFdocuuvfAwgx8svRWljg8NB9pU0fUCBPDFYMTLIm2iZaO+Ae4+5GtOd477ijHRDve2Pj7KImYXXn347ljmJfPY0CkebKecJEKxvGjaJe5HyzFn1Cm9zguOHpPKtz7WeCChHKmbUHcQ50qrNhSJ/P1LLwLaAxjufPlWM9Q4LsM6LzKxCw1OGYScplQ4Z+ne3iBR7JFga+SBg0eJCp18e2rETL8G3NOjJd2KgxvTp+4jauv8julOTb+F72/VZ3vpZ73EhsGC29uFb8l1RTpEbh6K6vXySlhuc7W3idbEP51FAKAvuF8bybXDwYvUQ9+xfzenM6JMoippNufccTyKeN/0Gw/24c2r1s56BcjvjK1OwFw4MUO96Ay5asejTj0Qey4TFO/4epNTRIjh67goI8lpPC3MgBtmsbGFhLaSYAzvuyQAYsmSVni/zc1qS8dNJ3PqSYPUUNWm4qaFp5m7GByWeuFzAet3CDTKcTyBiOF2pPpIqLRin6jPd3fv6NXvNYSTqayH6s9LC30iY8THRfN9UvFD1HN2aealBwI/omctBJ8h6MNkX3/UBeza4WNKldQ/YvuBxtWO97pizOkjfC7vnKrGmva8krZDaNzK7wAAmFhv9/O50+FvJEpxrYRXWoc5zWgu5/FjNRVVgmQ3VRtNlyvYnb8NAuwNlcOw61ysIX3pSZwmKuLT7pdPBm1ftsM0gCfCPbZQMxGpvTbCjQVPAJfNr0D5MXhraOJFw3QNJUH1g3upiSXKsRojRm9o1EPBbCUlA0s+uY/0U3TgIbjTCIxuIxHGfflBQD6qMrroSq2fgY8szLlPZwcWrOb/JZbFjfnJpdtiSRqcnlZn9iDN8cBJ+iLKZJGqSAUq1w3AWjoELtfo8SpJBlVni+0H/XzAS+8xMDaQrMaaKlwowKmlJA7W0iyBI+Ooj7F6LUAjqjRhMVrUtMZo8fk0mCjduVIOrbWtkw+KRY6mVDZlGMblkQiCfNte3xp95s+hdUOU8s2vglBbMcuEczlrNp/hqAt/SuWKaVIZIYsTX+Y9yqL4vSMz8pX4EX7vP9lO9dbIliDwjaDZozaBIHWQS0MlAQduN77iOXzmy33h36/SDvqB6976GewA9KXu4Adn36SIbBcg4ixknA5aF9RdoKVzF2vms5F7MqDqTY246pPeXQPcSaMHc/fK2SFCFWfwy+wHjjx9ucSIz07/96ATHnfvk1NB8NOXXtiYACg28Z/ZcYASFviwMlmbWWBN7Up24/FVlrPufyFyEMENAqhKay/zsn0rpF+uyzR/IFh3taxcXRr5J5WFJ/XnlkFiSdjGvXamNHkiq21D9D7jUbcmZIoyryBs9bnh5Z+Bxhcc/kxwI6D8z8aPbPFGFhZjOX3JTSta99d4l75O8NeZ0U1xaRgDDioK/iCnC9zeqOZO/RhBZxKg863XU0Z4hncI+vpybbvsprbQn1Cn7VruW1IH7GC92zZup11qxxJnUe/AkvKJCjSmn1+WnuvdPevXQVBOyZWXuc705O31ZpQasojHDP4hsqLb2mAe1i0LLhDbSBoV7eWqqZ5siL+9N7kLTWgG8wxHjLHDvU60jsxhe3C99jUCeQ+anmewlh+z831y9eGNf0KY5FbUD1cobl+t7BZvfP5XQbGmFmvjueu0zJ7Y5U1eKQOppdc4bXH00G8BpdiywHYFp/RwMGKw6oTxah/A5lPKOpUWW39OnnzJzPkHq0pQY8nTJtWAO7Rid2hzlSB5616eZISYg/KykS0NRdFweS+6A+s8vZ2wKqpXENqU3zx4g3j1qHFAOLf0FtRfsyzS77aqmFqh5JcmMAuHz6YKIjq21P3lxmK4nlyNWfT0PteZlprwBmgJoQXNOxuXN8hn/uATbBk2vqrwq2rPAXWI/wkCjFT9W6tHiGW68mbKRgNSQ8iLZFVrH1rHnHIIE4zjI+5+DdVuC5r8/8WdF1trxqtUsUreZmV0UuqBYiNS3MVjvg1mGXyOI6zr+Uu6godDpUSHH+r4hLZz2RRUdtQN5U5C0BJYXgGTexIomCAzy3y9XoDYBAHDS7w+Y44l4eln3ZlyF8ARsCX74G9+rXiShoH3iCCYkl2Ve+EW1rKqcjnDa3SfOMGIAwP/Y/l475KG1OnO1M5+C/Iy++gKWIIIBOKLnEJFSTvIWUKrC8qMNTizJ+ko5rv1tQAUnRcqdgJ+2pVx2p0pYK8R/U/lsOWIhSHy5x7dUZkDN0ylX0lKARPdTseYyZwkL3wXUmmoHcFbFSeuXe1fkQxwrJSWCg5ynao1rBVfi/kemk/Zygrv+rltUo3ph9EK/9Z9od/E8lt3qOEY7IQj3pYmnoQAdoAlpjW15k1Cp/BgYNYVMl9pb6VYHj6ot4Ri7t1bkKxbiyLFDJF7Iw3tepod7cb7SGKMC3SGVZmg+LlQHSgFLiCEW3+as20Z0Xu+xHP6QTKe0dpQKyrA0bwECXtgFDsw/7HBhi1O0Ah8bnFRvG6t9fnGxtb80Nb7zOK0M+hVdspNTFH5H2O8fqOsi+nzjUa0IhCtzAjKBV8v6SwSynxOOHhrCq3pPNM+TM3rw5zJHcU7iyyL2P/5wArgnsghsSM06+5oChVXDpULLfXN2h1A7UEnU5E7WfUCq025wggugvAMk48BEkaToX3tv7vdQy5N8B1YVBtoUEFwCz6FWVQmSjFjkUc69eOjsaVzLnc6hmGjEJvC83njYjHJxgyAOPxx7rbT/LfQJm60noI68OYcvRmNRf9pgTwJZi+1GBh+LaKp9ChJcss0HO816TNb2D3EnnRF4D85umP7ujHVhcT/zf2xBrVNNiMTibJZiKGuCmK3AmbPApfnuJRmvywyy/J9hC4Y7StC8DoQRqpsqhs4iugN2Uku6h+mRP0s2Q418xezQtbVThnyskfE6KtEwzED2fo7Ldn140PphywUU1NwRwnxwf1pYyl3dosA/HOyAcekvuvpVg4asOxLzxh+/L8nm801atDCMX47ovUJVnzOXDyBAS9bFZTATD3O4Val3gSuR0LrD5j4GosbxR7ZalbvhXkJ3E+2Ski1HDXMcU7onaKiyy/j/EvakuJeSctp6xW0wVZX1sXHLhBazUZc2+M7EQ3BBIEm+a8BakOaVhmzn/xlALS+wNJidOX6pwQMgNzFWqRf0UmmoH0veu2YKddVJPdQDJmd/s8PyZ/fbrZi1fA0ntVNgsSm6WSsZPeflJlq3db3YKSnmdAlO6zYBBZYvfzeGV9zWzJ9fDIykm4/pLdu7MB9UW4smhAgQ5/o4W5xym8LBjh+mc4q4lLYSaKvH3RM17idpXc4Lk9GzmlmN1ClrGe6KQNzfpK+2Md2OPD0gh/TGIynI+CM9U1l+CaD4wrQNb2547KE/WPc4YLI69/FykVBLwjCjTBDg1g31tR49Mf3NsMLP90XAV1o/1QAk5WywlGUNZhVrdrtpXa+ekf/Htm/BK97Yky8z7I2wZ2r+bY7/3BP+BV/9yCKz68mxV37/jgxn05U852cYn5Ri3T6SwD5AS/v1ZSA2w9+3f26dK4xOGZwMnftt36hxJGo86iBJaVE9yRQQInry25uuiVYEJx2VKCsshbufNfvy2b3DkTmsCL/IudtGM0cKV4fntF0AUa+QEobmza2RjOsqkjlKQutbfLg9+RarEdQYwJBWqRnWgoOzwJzh8mOA2mYjObk2OtBKJ5rSkNSdhZKaEQAo3a/j+qY7XMdJ8+Cq4qVNz1vkTEMebPDBIuttzMAGwdeFAGrBjJI/n+uOi1jcFSPtqH5MIMss/Wk9l7xmMoxaSiNwQZqBTXEz6ko45r7rqjBsOaZb6zEV6CtwuGp7e7gDIxEER59UzWLBvX/68FT8baqMv/Op49gqdP6ssrEUJr3Mqt8xDzpBJDMB7CbzafsINQziTDXI1/2KZSV3xZX9moUP81WdpNoEgOHyPTqUAnQqblFZOMvZXdk6b2KxobEDrlJeWN+J4sgAMyj1OqP9vAzmJSr5JstXOu2dPV5vGyUvdFGtkq5FEe1PsEuV3Mdh5M9MSEhn8zdIvECTeWy/nf0aucXnJsH2l/Rab8p9i0jGoQy5Fx67VpobFNFoN+01gBaOXpdXO70kCdy9Y/kvu17I3yjCTY0fnuiHZmVsd63YfrSAyKhM8maQqBb23FlVG3kxXkQHD0wHM3KPeyE670jeJ8tZQukJrWM/bqym0bCeYTW26ddHGmqQTByNRgm3U6+vhw7Lgq1Et93NBgAzzd9g5VY+iVXryLyRYe8/8Ug03rGlkPvyWJ+MVVRkwONMJuu0VvNfyh8xKgimgfvdUBSmTy4gCLmrNrthHqSQ6shuVAbYanyeut0tnL870uUVfjS+y+2qfMgJ5DxPjHa5MO+HGH5zZEhmWfn1rv6jx826Ov24MOjbv7plLJziUrghE0gHFbC7o1/YV6TgfBmBF7Li5Cn6SAPBVFPtxDQborAIaALRpuJiIE6W2VqbYeaXptLDBvM3EZ8UBa9aT09Z4KWuWtee6p4TpkWAzkN6EiJm5omVJ24LoqEP+Uswa4JlkoYsdth3tSwAQOeHFvIQThF+/c5ZBUPt9+msD2XT2gbFPkUscSTXzqQY2YF0jDZB8u46wmT+TrQz3SjdvlnISzg4DgAfazGSRNOr1I1GW/jaWwz87rnMm1yuk61EvhDssdIm4Ko82iLTmP3cskoKHCBt3sUnKm/1UcnzsW6+aRY3lawYFSIz9yYIGXMD8O2as718waKmLTMXzEuUsytEXwzO7LdTZnLA77ULTyJz21T5htaxS8Hp0fG9E9mse710XtaETIQXrXSNFGCt1/9RdKExbKuSuYQKvoYvNLO0Kj0AfyM72MOI2QX+5dHB1WCYSKT9GfYUmp+xRMP1zSTT7p49lqDZrWhbZ8CUK/fWfc8Vp3H6/1ubhZvDmOWnbtpUD1r+2TannyymVHMQQVfGv0LQIpKcF1YRNIkiM2bdIAQx+AyzRFHBnzrXxJg8bL/2GyPJldAWuZOpjdYSwTWx0t6teGFjaZRFSDO4QpC3GHVGiAk1CMs31tnbdEXGtXDOlJDOO8MuRxJaWMrmdAV0bPZy/uSim77tM4qhRpYIyGlo9GwTS6zDJJTbjlrdPpvyhNALeKQDNeJ4lWVev9ak1TVJbtQYNWjvbAdUAe0llURQ68mkX5Qxg2jzNkfjeCJKpvHb6GzS+YMNoOaQXjNteT/SE/wTUQg7JccSHzla9TEPu8JZS7MsrR1Wrc7pQmUL5GzwbnHv1+zB1uxR0gHGewCH1e0IkgEfxkzKRlndnFyhaeea0z8wTjaaajVtvo8XQ0SIc2eBFGgBxQ3Ekbe/O0IEZuFrqxUooXR2FvkM8pa/CvCcJaP6jv1zMcaSrYzPaLzSbjSxVNQ2b7K42OXN+AItg/54VtuY1J3x5dnZto2x2ek6WNejLTCgnr59km8Rgi5z+bNpn3PlOpZr/rKfzOB48Ntfkx62lQ3FEMQovWbRI9CG7EY+ohK+high0vpSZCpcsj0ILHYc0qIIUFyvKDe8qDIroE2lBjxzFsFI6Hj1srixUv0hLCi3lhEeMd5DsojiNUlCEj5CpnoWaSmrwWgqTTV7WSS13c5PvyWzyKqJWSUbodDfUXVyVk7LNz2ShgiDxva+vM6QVKJ4Pd2BN5SAfCyp9O4mrMvqmScp0J+6GOtZqo/y12bGnTaSJ+ApJqB69TM0aI8Uk+djN2U8KMWqpe7Wr6fEkPicOwg9ggA+Uderid7zFCj31aUzeqEeibvmsHPe8HphXPS14JJn5OM+eOPCU/mu8X+j8fZEil9Ws6QcU5V5h6y4wZiUQCGkdxPOKxCf2l5SYOem/qHswIi4DVYvGasMkOP5FF9+jAarFx4E4VrXc2Fecj03Q7CeRMSXD3OrJuGMjwlkHBCwwg689dU0hSdKQnA0egD2cg8PRo1mvPALGDswe3qS42SO+dnAH+kUQH9H23fTN+K/gfFS0JkmJGxf0DFq3NV4i6gNKsl0gF0r3M6M4vclsMV2bcZnHA2QHm9nXX2cVBu9wZOASeUXzGZhv0doCdHf4AkAwmQjM1ZRYjdUb/uvhcRiFOmg/dXXe75GOqwSnDLTQcebu0F0csQGwf3ZKKqkwNJJO6C9SPmUOGGlUfIGmrgdoh7D1lPtlFkN0vlEfOtwXVojFvKUeKhXmowtlbedWzuQIFyPE3AOS1FaCI3a3I8rz0PbjTbiYJF7z2et+PgpeSL+VIi+nIejvCg5HR4zrWWirLhX814Jj2dDihbdcVC38SVfwweituFoYEnOkE3LHABHVNS0LKlvPHlVlEFJPpsOAoQB5vTlvux+o90ILLQLYCk3XFRlhf49vLuyBUsfhXMXbIYwkvDDsjv6kauYixdO9eIqVEmWc2IQgjilHVjp0CbybO9q9P+4nWlaT3oSrsmzPSm+Eob5Y15nJW+IRkaweKKQs3btP2B8ToG7VW/nGRKV+4i9iw7TrOGDbeWyOFAnr8iY5f7R1rR/JhjaGVVldKsgiXwc18Q9ZceWnAdcpzrBeaivpKCYUGN5CNhunBFCeoufQSR5YbHEUtm/0ZBxcqk8DNhqrQXk7Y/ZN8T+/b0jKYgLFfLde/6Mdm+Dq9FEFXajI1dof7ECo3dpo0s9Ne0vckmgKF2rIua3krANT5xgRkdptv00QylVnqeHi/7XVj1cuBAGiyQq9Yzfofjcfq1hfKtOWY1vwOjkCzHnWXehn7Gy10f4+4eywfVLbVuJoKLS9xaHH8lbmJ33T0QpV/qFdpWOWaXyJx0D/g1g8OEGLvFEYp2Yv/4N3e/Xdsqfxcd62KQa83TikZ88w9TUCaZM1ljiCMi1ZXyIOlYc9CY0i6HnMy5W6OkReZFom6AypduKr5bfCzgqg/42vnL/ap18FTYXGPNbUDi+JRStZ5/Go/YDUTNUhY99yd5vjoGfphMYxbntGt+86N1u8AD4Vcdkd4m/2l5b1qW02C1tnLSLi10ySvUHtvbw1CyfTwElRe9zcipgb0CmYTrcqmWgEi2axM7GnsHA2Zewlwsv4ZfJbb5T2pjIKw2AKqMDSH68RQt4urM2HtBrnNjWdj2DGQaNWHKFQWnWuf8/tKXQPYQjztJ2uVb0Ixewr47MrRYPYUP439EAjts0XqgIPaGbWGLypbQHncugmCKL1v2kZsc4QmPULOKUyISNfA01oMuH0+DnuNDYpm6kDM1XE6gKVuj5f0rMQtVjvyKflssPgSKb7cCay0mL0nLpsiV77gEDiJqwLFxJfsQ9axxgMsDWhWKe64roKWJDtGaghwmsRyE5P3Bb+uJMEz9moHM28c6YEPcnL20dM3uKBpju2LHdAwL0hByKjB74+G+EdqRcALJuLvR/LKlTsaXOxfEz3qD+1qz0n1km9GRe24/illRxaHyRvw9dhFBn6WMoJzcR58bZdoUu/Vmq1kuOZuHwflLay9Zc9ZkfDF8m04R37eFXurmm2U4qSMJ8oU9vpzkhZsBmbT/EOe8gTkxdrgafAy6G7JOMteD1aRm/yUjN/+77ZAGMTR2L0DAMPCIQh2NOXBE9NeGBg9dZVPaQPQI9sE5vxouaHTy3nZPqF+fYXgLbsZLvV2u8GAj4P5MvuBCqiGv2VETGmaFqY/eFZYtvyQkrCTNax3U8Mv1T3gj352LDeGRiClcQeUIEWgw95loGOI5Gnv28LNmj1DuUkatGRJQBHCOJf8MJGeHYVlMg2QoQrecX1Rb8wIo2+Ze7/42+smKTZMx1HfzJz+WIfdY2Kfs0C6KFoOwxo3sZhJM7CFCxKDguFNJk3oq8dg29O7Tbe5Gn/dycZr9+snkbUZ7B7fnd83C2CfW5l/nolqZ3pu8J76WCpSgeyiZllzNTP6aYblxgDdb7sqBdWDfRsSTU+pJJjkD4TALrfkKfjav0my4Ifel+RnLL60M83S9NSFWeQ3Cgw6Koh27eyPpvsHpFKJjQ4eCycZoScapZn659NwlTFMcya5xwUKo/PDP5v1pDcNItnkSDjaUYNO3Up9yOYv72WIJf7yK8RcXhN8nUK2pFOzdX2skj83jm4ciAVxS/VWZA/uY40WneQKAHtfHfbiiVOcjA8m6ZPapjsWPbwjNqyqRNr9TNLxScWCUZvjTq+dz6Z3cThNbVa3DrBgPsS81ASUCRFLF/SkZZd+yVECSLbev4qfJrK/xmF3PTRqsz+C4c+2QRlZ+Wmimu/wA9J8QOaLkNC1KXyT/LOKvTqi1ZGJlPKzyyty6LzDK1gBfxThgEhab8IbeF7a4EB6gPqySAkRT148T7RmQWeKadOOAnRczMfaiyaee6h8am2JWsJYkQOx4Vp9FMcAbVo6VLj2A3uL89JxqnCOh6+B0bOyS6IRT3Tis9qhME6y+FL/Qqk+yW6EJ0Ke+NNgO2mzX0dFH3KLlGrADJqza1zb4E313XwqxkbGZi8IJalLL0NTcYHfqqtgOEk3YMKzAg0ygq1TG7c4biCz5nutBlo20bM8cIPoAcbDdfFp81Cbypgl7DGnywf7fxwk6rBbSEzEZegJ7N+OM47Aqd/JTg7uBEaCXHwSbQOmWRTBVz8YhvBkAZjMyerrzH6uH1h99MhkYiTDlq3ghMDjuTFZACf2o+a3fw/AHhEi8Wi1UgZC8lFdUa/2o1tSzpDMYEJWJ3UeNEKC73w6jOmOy2CgZjGYJB36YVT1j+XPETX8NuGNByjGWNeWh2Xf/FB9mtjTC61ZX74GJDGwAw1qRusb/cCZYy2zlWlAdjMjHnw5zGfYWwXcUISVwlayPZk2xaW2Fzvbkk7b98l2p1CKVDmDriVi7k1RdZOXbewR8x8RwUGsYyjHtlUlzAG1+1fe3pCVm9LIrRElLEIYt4dcq41lhGPb3jrcLNKiPk0pjhwcSfMkEXEsplaaMeLj1701TyGY1X4IeplLwHvTkeoO4K4GFWyNEBfL8kGU7xo8KjTwVYZDyABY+RH/BpVQQpO6ItY/BqIWzr/G7ifFM6BlFTWxdtijw327pBoMYTjIchcpn95j6ClFWgNp/QF3C+A+FaOfsQ76xXq/Cui1vl7XIrCE0BwxJlX/ZQc4k53N6XnaPK+lxlpJX6gkibAgbugysgqMJYglcTySV2h8Tz8Cxvk0L1wUbfw/etxBXv+f+DcXQqnWoRKiDilj3CXkB5awQwsjR3qEa8AAN8nvpWyXcIeOkBqAeYcAv56sGGFBpTao6Lh2ZjUsNtO/Xt5pAMJYNYrl3l/yRfWZ4A6Keihz9AXDQ4Ed2r6IBantdGmG+eTfgsGuPt82t0g3N0r7aYg9NjlazmxdlrUirYsumaDiLcXPHkeDZdC53CJFX+bQI55Amz87ujkfXRM8/B7SVg9hrgAyZFsNydEoINQi22cHQi57jkz3o5EQCoAt8TPhDlAfIIKJBIEiOYr80EDbcmSFtszLEYHmpsO1Kd0X5TlwdK1ME0b68mm2T5nmFplY6spvpK/Ps8W9ue8pW+jfalQV9TpQZboOGKjVuUtKalJv8Lvjlaae6yM3Q8kqkTHOgFcn8gMkLf01D1+O/oEdeGP6rFrbGtPtmd6joOWhrOSZlQmqtqItsNDYuM1SCBXX6qjE2+nDlUaUR39Bc61aDWZ/0Tyby+lTd1BeXBADXhxfxrhIrOz6w8fT/1DswLFJnjp4GfkhsOQ3EamKoWyHxjRCfKsotobDayElUMQ9ic0BfRYkQCsMfBCNxeRmsXoQOj9klqLOpd61yd6N+nV5KROsNyX6W2kQwddZJJ/Z5cy1zNR5WuIadwbR/CKrccJAJzEC5sVRbXOn+99oEkU0kluCSz44BSShsvT/f9e+eUraLlczMWh7WIKao3FrCMYsGi4PUmkBwGjpiu6gyLyZIb3N8FhXPsIj1gbFcc9D5PkDXRM6epSLDWZ080hmzlrjPJtM9hHJbS2PGrcwO8PvaKVOPzFzXI7bkK4u6vFPV5uRltvvXfQCZLHgxFEGcYOLstdi/R5MOYiDf0pDeaxgb30EvSn8HBiU7oCH0rx4e5PTrBtzrP50tQFGuAEwICRrgFqbyYnkThH1VdfOvZ4SmvzEkhYoNF0ajJajQTL/XbHqOC3ymHG7Su9vGGcgQ9ZyaZtw3qcXel8Sjgs+E4q2yX5FFL0MQhYHKIMnKcMCf6lLKIe4q8adYvEaVFpgDN9edvABa7CiQOaJhpKz7ReeMYLcFsZqdKiO786/QVJJ+Crt0Ch/eBx8MwJcqZi8g5OKHePzElIS18mKOFTbDUHzB0rbJS4+fSaTZUsKmHZL1JNiL1UfF3L8VWhqWhRaBzIICVsfeKvYK3N5d04NifilESgT9t1OyPcg89fhWz62vHINqglYaIcQUfAkpuJmRqsQkPdiuQLA4+vJKX2mxDoFuj47zLb1K2hqZGG39DmGVdSzzBsADB+lXt15otA5Bq8cwRqhAVC42D0kCeTwnjBPdTQR1oLNEp9D1yyL+qTDhbsGkSyvx5TE85tTMVRDvP1cOG2MS2VmV6+2XaxdMfwMeMcTjZm5D5V0Pu2/73hgwZrKvV8ZY/QyjD304N4T/IWBIMsBMIGuzwXk+E93S/FmvrwF513lXoOLR6n+pq208QPBpwKR2KQUPYoOsrPsplRB2DtTOVvvnY2QxGmlfVmo8Ewvgd4rrO4sux9mje/izvmHk4nqzFpjtHnIhWdrH0qABA32m+1xp++33vUK00HZoDI2zOtj/Ty3Csix6GkezqSnLSqQ1ZNgl0sfD3+xOEQl51tll8IPsaeB3FPBeuDeNMAF5jaZ6pQ22/piX2aJ07x0tNOiT9tNNRSBr5o6TyIymV7Vnf3eyhqAuSS3Cko+UwrU2zAEtHVSqFWqMXXwpf0bEsZbdjwpmHLxns3avBrahwyGPa+k+8PtaBlziZLZB2TrfAYVIVYTTqj8yfX38Gsjbbe1qbKKPjKeMdEQHXUsxOSa42B/E1o8vDKxtrJVhILrxpEm3apYoHpWsE1CLUgpjKfJqQ7aZZzbFNRKBBSj9LmiCmzD3qaZoJR/1fGThBYwOfqMJ/Su7kJj2hPpNyP8L7GKYVHYZfDdi6XTFIenZDMFJfr5FfxaUXyvpAGT6oRMdHxylxBPrE/fojt2wxj25edCiS+RTCdo2tfCzo9A61Hd6rE0WAJ8Lc6QIz9K+46WEVjulKsrz3x9BDESlD8Ge84WpglpbHEKcx+w70thO6dIxQJrTVPY3veyrAPYHgU7XlFtwl/50LoYqvvw2mtQ0hU/nqSwLEFtNjHz0JtX0RfLB0Zl5hrx3+WgNdPQQ3XTWpNE3ARNAYxP68GTr7qhhCl+dNZJ6YY64OfIXaQbpuALiMsHt6hpCVCiXIZoy6fEvkPVHJeqOjQNOOdkvT1aWfourfE2UJlncN1KMGuIHzxRyYnowYBQSo5PufWUZX0JshourwN5sbuExxfcT12G3wS7XxKsJEwdxi2HeeqIdvvC6FDLJw+k3k4L73YRTI83vLFn99NukfV1KO2pg8OgOsxYn9ubprjFI2lojjwFFmyIvNA0iZt7ojCNGEdaC4gdH2dhaERMvrJac6WQuXPhtRlxBu9qr5YhG4hr/hQ1W+l7FftCsx6cRRnfcOmP9M9HE0FOUAvdctqDt4IGWyoRM2UeEfujWxdRnGS1sgnIGW3df1mc/xmSZkgzOID08pRsCcZm9YRMDQgSd+BEV0iE02OiLjt9jyviaEuEkfsnO3IBZsgjVEX3Q+mptHIyjrRkiUsZTuRbyE3U8df6J44Cqw0G678k3RnybbJFbL1diKU6LpuOzHExegihGrcwtslfya/v1yi/U9CpyZAMvxAN7lLnduhBeLb5+F8FznMh0PHsJYlb99BuXdhU3heNfI5rlPKiJZzOTLiKhDmKA0GaAXbCUubId0VSXsfjJZnHZTlRMxo0Fb4y39GII2QKhcISyYFqioQOtiEOsjwrZUmMH6B19nP0aqU80KkSGACPgyy+oB3jBw/txBAwusBBPW+kyTFPNZ74tRisTXL9ER1LDVV6YYpgDqmBWYOPvSLIYJsLa2XgBS/bHwzNmcapazgdaJzSLkcvw4F/JfdDyuAeF04IFabv3hqFrAnBVl0qBN4Cl+m60WD/VujXeBhMA22legiKWWpgfVZDN7W6ARg1eOR57IKhyskRU/lXXwjYb8iSOY71z6slAiRmWgAi3Gm5eIZzAMpXX0YZKgWo47Ne39+n5rYCySvWTRQOl7jFgmXp2ciWl67hwuJ81/35+5fEdfByO/NMcOrVes6cb1Z5kGF1GRwOdEeuJ8jPgs8ba1rpP/ffnL5Y0/4z46zXTfogg6soTCyLuLZBzdjrnXwUrC1eZoGDjL1eSosTHuNZRDgVuogBSxZiQHlxak4rJCWgVBtGjJFz+jMVNA4AACBRR06kGLobfOOJ9WdD7NGnxtnO8LcsRFepW27OPW19gat2fHQspH8aKv+a1rhAmeBjv2vmUptcP8q/KTVfcj07/Z2+53epaXdRJIAzwyP3VYk4hAgUy9uJKCHakZWj4zClVy7fxmZnXTgnlMu7yPp1FCHomLEML9XmCM85lCZkljx8b7olgwumVXY/vc7qkA1WWFR8GFmSoc2Xtx12tqZ2LQP8wQDvl2zknKLBapJCf9hfbosdzw8lrOT768+bD/mYbpxr8lWVV6R4AgED2Wiphl6KexmmdPOnBjaiua41Z+/Ng3HY0CpEu2ZSEdzTHAnRkfWglAlPUUWgjwQ07AcD3tkxU4nqL8ol0vPps+rkrlArt1iqkxHQuSHF8ppF8SlH01Rl17cMv9AgFVnvMuxbfYN1WNI5cXeywaZ2EZ4hOkwHXgAFQvR7Q8ATlAv5Q6V8Dr6FFHBz7AmbUIkekoe5pfqn3eYyUu1dWpglrgbVxdU4lWecetTuJ3OArrfBouH/8KwMGOP8JZGCBLiO/JmUHvf3dbqIKSYv4M/PZQTpgn+UNGPhCcCpme0YGPiXWdMai0LJ++TuxVHg2zLZcQcE/8XmcquL70x8V9tdR/YzE08uou705g1CIsyRxjypDPOLa4KjoFGj6eWjla+Qad8uig/KtNL/bFHA0wVAJ46ZDZbEIwrn1cvRVVsfr/R5fmvMqwbcepZnerPK0l7uuUpAKWmSzGh/wMp3IiwhnPkHRnB5AdaGrrl2j+4IEvs3X0LhGG4kKZlHDGeMk7olOlgjQYdEH1LmU8uTApR0ybsWrC40XjeFxwya0ymqAguNNPvxDA9umrcAa6vo26M3Mu+8ocwcEaayBlGB8GQY1NpB7FLVnChqYZiVR6q6H/8jCIRgjr5xOKGZqwUzJRPoUEFbsr/LvHUnDGP3n8SzbG/GFcdQmH8bK2UgaLobE4kzoS330hED/M4ukSTuqJ6lJQYC4TXCqvXQjPhMrw+cxBYtr7JQ7h1vmRs068byRkJoHoHIMqtkw5cJ8FJKWGe44e3eFcMDZ+m0LHWyBo3/0OMMCtQsr9LkfGM4qYV0woYBhBJjennXagPQy7qjwwvOVGJ2GS1zZTUBsy6GMj9TWYu/z1cASxsMRqjbWJqh5QqLWp49NhHnzWZJl0IRXrGctZFkJ/vJBlmYcUANAVrz5fQapPK/+4HeYpKGkShZiptPdtiNY4LuTmVeAYEStiUzla+v13BCWwuw/HXBXN21Aj1BR7T/OxkCTY8bs9w54WHw2sHbRh/Qngeg8ruQxnXdDwoQtTPaF0bKt3h5XJjRyupyeZS8GSf6DrCEeOFEeF6RvcK/h9q1szVP3E1kUIzQRLxAFlWCL7IddY+0Os9+i9r8GGlh2JLqQF6JmuutT/EqMR3W6SaLGV6XRo8Sh45/H9spdlwMFzWPOrT+8EgKl0qOAWGzsqlebCWJwwtIkIWL0eTptzMI8PEyNCeY4QzcbGfXyEnQX/rwH1jMAZ9UlNRPbdcxhuVy2EVUErcmC6Y1psZ+noDhtevRn2mqeJt+9Uz3+F+chtH/7oKZIA4GUd1H9DETG0h6OIs4n5byoAq5APld2HP2xDhW2ND93/IbFsXcDqf64DVI+5Y6IEtj85IexTR+sKeU+z98wYm23qcvcbPiQENa8DfaffjRKkZFh8h6gAiHwvpkT4K61RhFXAnQcQC3dc8LRvSixNmMgsrKVw5iGxxKyFeyo4T/5XqQfcuFStYcRpxRCgaKEPkD7kuxkbcWwwizpgrjMjPo8MEOacafuvyXXwpdavHY/OCImqz48CBGADa9YWnuEzIpEtLxdOV8eAb8I8Ue6lgrooBP4KLyq5Wp86yWPbPtSe3ixbScZAkNly/Yk7qw2TLJ/Rxme0Qjhir6XXO0dKYlcrIZmI7r7Bnk0rFnnEooixBceRhB2To64sMkjFwScRgtn387sn8kRYiuz16moBlSciSmcRImsJUxz387W6ajdk1zFgDIQrlUULhYsHwOjZbi9j0qNVKT1ZOWB7X9C7k4ZnK5XAG44E0sAplY/sjkTDu8f73GnyA=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a/oXf5nEOUIpDbBiyeHXG3Lg5eYV3dLFOKH4946m7iICcmXaxfcSRqJoNzW5+TcouL8GWVIvvHH/82UGXZ3yn/x3iqTikhoieLSrSriY5JCLngRY6CwpGsi6L+m79L3wCsx4cqd+jNQHl7od88ACG32Dq6iNSHa2CeX9u+RbwEYlYd7D27VNf1u/GK46zN38CxfECHFga9uwhbplV3shD9wxqseZkC+s5Q3ltVNNc9izqqNo5oBJcuR/Ja2L+7TYXwK3Og5TNvXkTIjaN7FpVIUVzEsfsrbF7eONMdxYOTnbMyTZYptMMQ5hhZQcrPTalJ/Z9khN2qdtM9XBvzE4Ktx5M/5qVw7k7wWahlTAsTsMzkSmD5aj3apNlB4jyRVsWJmyuoBX1Z3jElrL7glpC2KJwsxMMV3VCjhCGdFOLIrWwazg4RfAhfn2bqs4wm40PV8ro6dzJ1/lx8RXmfGKX0+QIVpINzfxKw32Z/s6+05iV9Yc+LT1mX49kO9gMhXSoGuCh7W620H2Uz7L+rjgW3Owv3duK6DkgMvvuXr6vYOqImREujEp0ESBQhz2jsmnFZ+EXtrWjrC46PVxEUFPbfUUac7fXihD0hO3t0fuNowKrLfPgYtgjb8bfSMY6zfVOcjFaAztFi5JMR/qhIfxzMVvBcre7w6uohQHIENA9WRnNDdBs8uX18aNZHZSz5J7EtZXBa49ihBWWvVfLzJQr2qpkC9r6pQY6HpFiqfh1oPSAEn/5DVpmAVdJy3FJZkghtyelkiEWYRgUOTCdvRSetH4t8SfzUPpbetQzMaOxvL7PGoCPip5UAYxccEyFkb8OdABgafw14eBVHnb3PCTXvGovPdcphpvn+7FM3uApOWlKQDBhCe/OtFupnCSnBOIaQ1RZB1F1KPAE6iWY0qu98FN/owxlJTWNRhke7cKUF2MC5J0AqFETvUr/UADAgb2XflSBGeAB7KmWfm2wDpcjxY9iRzykp8anHVW5PG40ojHTS+s5pbzO2HF2gVxktd8G01jZWBeO6KJrwO0X3mVF9E8hXzIRmYfUS0d5hwJMT6QSKYMYcN29IbsFBV9si60qaF+56SBqlcotjIW9n8XTQEeuKxjCA69hVaWi77hjDmWzypcpg/+QjpJ28ReG6dpHH0kBRiie9xOndicr/hB6ibLs8cYFN6/Sz8KjKvrotFSBz83/6I/y6n5vq8rOJ9xJmZgFXbLwiq0sWjMHYJJgIqBvlr6lcmsU5f5dkcdFstQLXlC+j/qDOB4Dfaxvgz9SvtkbENVIMar5N9//TganEfRGTz54fgSHbF+nH3JJqm6f7rVGiMrrPC9a4qYhi+2falHspuQTtbvWGlnjAhvoFYcfyTyX27TQsldRRUgGqtJaRBHla1UsKWmLM2/lQecqE64P5dgfuMrQhqAr825lXYY5rv3xevTssIiMaA8nz1v2olhY0Ra9uTHjret3LiWcQGfBR6h/e5UYx7964GrMzWtVHA64BiOGc30FBTYvO32+X6ZKFO6FhjegizW1tRkYme/bnKG+2yy29SivuO4Vc4UtaNUive/FP6LOHjJC1KcFVJp9I2ey6Zae2cfX0bDQO8IkpEn75i9/EXa7+GV66hx7w5FZmREMdDWZWnvEkSOAAiKey3hR9aGh8sfr+ALPlX61jdBXc4ot9STYgDW2fu0tSNJnGelALmqAfaP0Qc49Qa1DsNA7bu7FAMk2KCKKX6gUeSCr64AT0vG2UJpIVA5KVuRoXcPsOk6VP7zkM0NyFkZjVB1pio9uAJ2JfoDtCs13UWtvbQFGqGD/HdDlVWLbw0MI2voxGkargRI4ns8SxL13dkk72c4uNPM+QMwJRYwGbKeYYLGti4gkeLAV7b5EWewwlvG5H3oCFCd9TF78Pt3h8GGwThS0hP4YGiqIt0JfbtpyN3kAnoi+wW8b1+lksQe1+5OQyK7t0sOUsMwKA9MLvcWpuqHm+2pK1ceeKPrBw9GTZTFAk8NAc56L5pQbVIp3p2CxxwLiN5aDCfvUDLFhplGu/xSYKDVtBKwFZ3110HNZkB1gu5fmLqA9oX6H+XPxojC4HNYAjOzUVMDwLjgoroGn3jwVNLyvDZMQg8uG/Jz5NJNU6jUBrXEGTR1HLOzZu3KXTahwwDeL1QUiWkOcnGPzWcWcMQHqdAyBYsE0jPzgPFbZFK6pD5DIaOkBELibI3t6URMEZUglr23EPDFdDcWLekG3KN22RgQfDbip9bRW2wluqx2d5ftWEETqooe9qrNVhdWPy7AJB6tiNFH8Ng5e6PMv5efveyp2buy+gnwvZdElMlKAgVelNNpRTsiCT1xAFYA5hvwpi8SA56ZefDZvpefJa8ZSeAm5kL8OZgm93eYz6I+Qy3Jd9BIkgcPYEamcRb5YGQQ/hyYpfe6xpajWgO/sBOcAhl6uWtfBwCVUepB9sWuoOipcnqfrhgQsLfU0f9bohxGpGygvrzCD/RbiMubsCa1m4JZt8HOprFRRaxsGQHVrEfpCEls3jZL8T2PnPb/v5V2OVhk8PsjH8Z58MWesx8T0c7FONF3z5L7p9Zxd4TdSyEBln6+jDO/SbU2C3ThofWkKxkLrVh2yPNSJvwCiGNZVC2hgld8aetjbeos4NdLpXVX//TGBZeCJ6o1NM4oL9NESfk9O9w5ouhEuz1FGnFD0Z4z8bW6SoEXdbQCP619WmJRKKOVHnZyjpctI8oxCg5H1ZmzoR8RwKCw99OeXlPaI8E5chtQPtzlVWvXzwLZ/ixPmTpGC2rkcog4qVIcsvFJy+7VcEyTggCzCL6k5EE/cqq86Y57dlxAV6Vap7/Q53GHECd4p6wtmCJwva0zVPv3A2XEPFawqix2ThjJgoXAjKNt/EJSHbDtbpDE5Q1CT3WBwVONsWzfuK/VOhf0SZDhfnbKNiL7gA0BHhsLK27ihJ6uKuX9JjhBQ2rCrcFQykkdRcY334QhUFPefpbi4THb8qGYYR1EUc/U8X56w+m6RZHELZJwpVAGF4WdvsgeaPj5rJcH9XIATzgKNJPnKGI/zNmwdKlENViQ2A+j8Y681Fu7qZR/HyKzS9ONAMISDilGGmFBdlsxBnjFKmPwI7CqlsOrTHDfkfKtLOf9id12m889kPfjoAyKohypAwmqJ+zA7Wn/eyDPz0Rq5Qlz9KqZ8JFvWQgJfxIguzKo4YcNPwmqt6n0NHV4Oi3TSDm0ksvOM6KJ/fWdlQs73NZ8MLgyLqOB6HhgsihG6k3p6FwVX0pO9fOV/ZqE+PqHLnVD016fYgf3S3/pLd9Bki+jSEQdTuIe3mS0apnb/ww57hnfRxk3yufUeodTS+T48E7mjDB5nZrwbJm2JKQBBuQFjN83J7uM/TbF/zJOeEX/ieqZHdgfRR/kYrIC/qx0E7kSpN4/MvyM+h9ZIlXjlNx0ozSGSRi6I7dYlJjTYNdH0XzatCqn2wH7ttGEaWVeANS2eH1jgj4jvJ0qRh520OxcXaMzSZJ125Fybr2nJB4ajrZQBtVnbgvSYtpT8TSqUOyrFqOpQMeGtd8MtaKp0MA7WOXtDLICgz0MnbY5uUFJNusYSsfVc/4Skn9bJ24osHUWtqA5UjTGyjzfY1kAG50PTcmF0jA241ULd4G/m4ZAwpAd4zWZ8+pQq9UaJHsBLMEWIuAPIuhJ2YAMM5tUht+AkdwURv3xT3qVXc8AqOSjVw+ejW+FJ8QsTpKaYBfuXRbccgJeYOj1OS+BlGkVk6Z6SkA3nLLXrNnSFBDNgY5ya+HeJUcByKsHo8Xs+0zRx9szhhrQTtlB5+k7n/ZwF7ygYaEg6svHEOetwXxh5spl+rt3CHCoeY469FhEqbU5oSyPf84qlx6zHcf+5pibzbnphGwYoo1cvYLyi/WbQ6+ahMrhZLfq2KjDru/KZG5WUAJVor9s+zTUexVTs+Y3WUPLycGC2UNRS0jZ9POaRQPKe+pXeZhXlnSH9s7u/rX+CulQgQduTH/zBJ18h2V1z5FdkrcSQp+sw3u5jH7pzUbtiOdm7YShmxGOca8Y8287eccVvLY3hWNlGXiRBnseathpCFZETsOEZst5qH4xHhP1MR1kyYrqNjcR7dlGpLQ2A70E0TPSDPmBzsm7alLGCBl0pY2s6O518FhNDFIlxy5ICilyA9fsS/PMwXQe6YhrarC8oEWR4E88XG4P7ADeixZY9g2gVEvVKQeD4O5UmBzYwFpMxtnBQwqvirD702nG0UDevHtSPr+rMUvQLz/c4zNThNK7HqB2Lz6FxdtouzygL4pKZXwMCFe7BgYUDRFKsYll23UyQwCrIwnf9h7x+XtApi8oxDjLnRA3iqyMKJzJTaSlnmQhLFNomu00AOsxurtInapqtvm7bpC37psCOtLOE8DLoCC9v9h9bP//lKUtT+oy5NWEwDBfPBvHrbVjvQTLf/H2QdWnJBSWg18NIK69gJxj/+JLlI7PtAyHTlhrAGL1VeDR8F8ZIQFt1qPg3plnpPCEVnMowqtK7hidIAsKui835oAlBQolRhOW69Z2IZsINnPfPEb9QlZzaFIoeHZD3SvJGiCIQakG5B5ujA7czcEGQhJVT92QUFUzcXPnVfYkjgR65m69ooc+V2Gm+9ekHpxftUp7qUFQcnAvK3N4G9M+RjP+Ubu6HeT7JaFwC3dy5qBVX5dmj1RJhgO4zj34IOpvMAAd4KD3ti5G0oxX2S7wUs93se/yn6AGUtYDUl7XP4N6J5aTCkKKVI71HakCZWvDoDrbej24YFumCxMOA6X+VTiKEiQV/7odlGRtU7pCN16epSak34dtl671HA4AI5jpfbsqi99mmTzodMbmmRs22vmK4M+JpIYIqFV6JCLofhw3C7R1KOJDFqUTEwhOlb9+HdC4lcmXEZpkpGUwlQd/DNuviXhyuC1n0Kdb+fpI3lCS8PBFfvg2KISVMiyVhhBRBaY2vSehT1mIL8p8gyXM26XEnY9+UO6fTIguBVo9uG7FVfKvdnGZ7PaS0W3sbC2uGaeagCRaovTcvpQozFoedjhVP91MRfrh380deVlCeNdUYMDDLgovoUrxoNAuRVE6VdqAeOBQ6ZDPSAE2+uDW32n5z0i2V6+X7A34POCI1poNT7AIDmL4QWyI9xl3AsPvvOnthe29KUIUGZq3+W1QycO+Gym31qXqbRpjOo4uAJhbYNAomgstfJdAROg3o65xohLkI120oWwJhsn6b+elapcrY+vYsloA7HtCLc1N+G1BmJDSP2HklbCmW6cunDGmehUC8QBqLvY2AdROs3WdEFVij54ncgfrgzbkSXgQ1BwWwgPZ1NUJdl8P7qJUpAeTQ85lJafRq2uAATjOoZkkXHlmnkPsCIieh32AhoFElQzjO6VyY7Sn/eqcpAWinCtI7pAjlRW3yElUWU/571QPSpcU3QHh+mUtqjFfydm0tyJkePUgApVZe6V/hg0qL/YWtRDLiQU+JbjHUFDjwkjAzBD4/BmPdX8hPrgDjHLf0ge3jPpRvNSlb/BZ4MZmcYT+hSyUaZTg6QiQcNnkwBIaxRCVXIGhdebkxdbfaFDjMVC5sSWWuRotZjkS9WdXUPvpJ/AtUGBi0zHEYyvTCSw588OYRDIVKvJ3mc99m0WQymhV0U2+D+4mKvQ2bEN3Wa08EurhC1JnixZF8FN6S0jUu1f3ZZfz2jqOoJ2J7Iv6kqrjwG3PSmr4IkOi3nfQ9t5yxnEHshPPE+edcfkBUY3NIMEXGCS660C/MsWpf8NgavjBD0shbxhrm/jeAN5ve6lRaIB7Bi3T1qfhK//xcqX+d4B4QgOTFdutYKEIXaBpWFjOg7h418REoUaR5wLFSo9AQ5iMGZJZDVIYHtXm+12/NBwmyJ19MVwIaTKho1IAr85b0MQZ3rk5ZyHXqA9Sa8JvsS03f1i0MXIK5Jo9ZxIfiNUuOyGCfggjw5PCfq9vLC8H0sQQ4D8dUlz4Vj+5FBZcDUh45dD8ZR/jU/VDTmAYUh7/ycS8d8EpT0n1bZO7/KKRafRtXcoNoMBCxI7yuaUCkv39MgmSymSJ8jfYjtQZbGt7XTEZsWCZb1yPbA2XAHRbmgDPGT11RjH510SvNPk96oJk8bnfzXUU6bQ0u+CJVrOZEoTr7h6aeX5GtjaiVBNcX9SKhuNKc2UQBKsYay/LtqW/YtwX3tVg0jNMjvzRyfse0NwJITP+lql/xcePz5maVVQ8xE/kgw+c5RhOSGP6r8S4KHAX3rdwVUz0PHxpLB2hF9LasiQq7c9dVLztsfIGIvDiuhdh86Nm/FWOXX/sGl0SvAz/6wJUWRBAb3rAwRV+htLoq4/bB1iaW6tuqRlPuDJK2yUDIZ1yL77BANcRi86Wr+yx1Jy3lwvXGsAdC+tXOfOd0NAlYIqp/JC4pUQL+gkKLhrs+d9/0PXO7sVrM5gPVV/sR0G8mwX7AJVpXTge5q2Qq0aOq3olQ8aE53emVZJ/0zsowWfzVcYmsJEr+xoFDCo8BLMPkbmhxCbCcNnJg/dGg/a7ttkvcK3QGFHFoXOc/GMcikUuwxvthAEZPq5IzxPVUxShzenczYnZURXnJnUb53WKMkvtX9XuUz3eDzF8RnPQUJ2ycnRz0xvkEMn70+UZ0VymrCpP7pWTtJOcTVm/rGgy0xxAZ9o7IgBEo+58tzjnmW9ff9DERiN/YBgrsgwGU21Oo+uMaC86bqj5Gw10HSl8lJoSfpIcWLUVNmuwS9K8ZrzW2HdRMczU1kWR7Y58V/T3b3mTyn5kPvFyaNkUT8i5i+lJHulzqPhhO4smfaP8PWpOG0nHFsJwiWDN7zr24cQqQS7DL94p8N302kSiV2K1Bdb6/ynd8Ez+4VCns5QAVj8yuMv2UnyROYW10g3Bu+Vi4g+EasBftOgcplmQmzihZaLuRSKpnMqZasK5FG9wI579f6deSi9oKrpNPf42ugDW0BPYO+zTuZSt2G3dtAF7TW77mVMpoSw0oASiTMiuqjXcAlYAVgYk9EzatAIurWp7KYqsj4/N7R9w1obTKoH/zQcUD9RKvqdTjMEbhKFVZnLZqXjRQ45d+6imgslaMcEeVNdZRwXNJ57Hh1iKnZnPGcCtkxI/do9b9swPaXV4paaw3PDfcAi6fvYk6Rj0wXn4U4vaZuqFcbg1QRfimixGhGNcizCBxnsjt7GJkyBsmJ5dWJeM2uoxTtrX6ZsrISB+HX4z3kuUK7l/M9plFWMRKbm/vyH08rkxyoOiE32L36A4HZa3ayy4wwIxkWqAEumOor4JAWq9s0bXFctk9Fp2KOicSgWX6Gd7+Bm4QYyeyNp5JEEDHnYslOvmzupoBkEgcP6+KD4yLlF7Bi7+gz67EdH9tsXX+r/dKsN1f/s03Mj0jYux7bJHwcodwaDJtEsI76gMMx5v4Atk2AfdASQF3k8E+kobiGbBjVZ3n1UfE1UifFiWWOGKbsfDvn8rnkL5MuLHY5HUJkm4AeP24kGFVR2bZniTwsBeSnS3fNekJnqEWlpOV6WcYkHV+p4sbAW3F9/jyd1oBHZdQbMbBcc1BVouhkIdtSdfxbZo+mpA7B5c5TTCezWBrSPOXecQrQ2fsP43pd6hUK3CT5/ICW9kR0Vx/ulNRkrEOwG8rkXvkejIZPLwHNzwCknrpz5IVBs+ZvW7YraKiLLENE/iMU55IL5ZivlGtOxc9req982mUYNVmb37Y649i1S1qO/P52ULrzgJ71EqmghpBWrVU58QdYHI3AiilmOE/do+M3rW2Rz2ezUz3VNEEOvRyX2Dlc0ONuT/q9AUouIabspzPM1kQ+PoUiTrNF2Po3VEX5xZB6iC/7YxwcKkfBmmnIXq3RgSP0/Jl9kiyGSkSgJ9nPwuD1NlVNkGSsGB3FOq7MdTyz/23zR796EEjjU+CcmMAbb50iu4LZprT7i19wFg2Ty1929TzoAIwrcOOSGh/sx6BqMwzGNu6ihxn0DzE6oYAW7WIMNMosoyNvgayXMKsWjfmcf3/57sP/YXOXW16GUToenzGa6T5TpZ8baRcxloB+ZBMuqKy40YTblCHR2TrFDRkLV5TSkYAWb+TjZJxXt5dYBEBsbTJZI6EhsQC2oKJHUEmLmemYOJqwN8aamm4BZrZ7N4tFKCWxppKxu6baPLvAmesCfO4wiC0XETnK7Ma1LxxWs9XisTo5/UXzGnZag4AH6XHUfOt3rwTMuBJ16xgj2eotyMoRjIisQtRsMED1pBvPShAXqf1BRm20UBigdcfzitzPnyXiTx4Gt1HdphXQzicl8gC18n1FrKj+NC3MOmxCcu9grJAhdP7Fn4WmVhCSoDBlcpQgj/U9vydv9NkZ6hboo8KoGgJC9lAihZ3t2TKW8QSv70GFGEDXSceiUgMmv3m9bEc+tQZh3Lhrb4UAVijXGuZeCmIHzREngi97dQmgSzTtk+4rz3NHSEyBYjwy6kYCT9zPZNUxqKE5l1kRGnSmIgUOBPvXs9lnUNeQJisvzpQonFgT9iQS7/piiiVdVtcvnIxZbabGRnNLC8h81eDnUfAdldJ7A5mxpIglATQsimjO83Qo1/jgFMLFUGME7Ms2RUVeoEqDnDoISRAoq5DEDPEhLntZGsOlxzthWKp4YQYBy80WO/08TB6uWlZTaKLayiY6lkqhmj12byeOeC9cCyZNY5DGPfWrndAAstafw49bFeIe8fucOQ/UVf0rlKE9MsMFlwZs77tDcpSHQ43R0sEIkj+81OvpAgzcJXqczMKIYiUXmWVA644p8754LLep1cmB19tV1mJrSdEu/5imCgfhIqOCcOLl3c8SdnHWStDSW5r5uPqM9rjOMQmvFyemRdRx+HfE02NVQOfcSzNNMmWvHp4lwgKO+AUHrQzLKEqMB3hySTLippwBKC/N0WZm4SXiU3vdJXDxhxVULlxM/a1tLmh0BUFNQhjVzU7Qr6dKRmEnpb3NZQby2zzQFOLtgL/p5wBNzvR4quZlvpPh3BmArt2CysiQRKrKh1HsvbQW4KtAeK/AJ1Db4HKqne6G2JxiSZpjaJolmnQpIYW6h1/F5thPlDoNGoCmeFwbGfLDGPIoLd5oz3kcpzRMZQv7S917Y1BkAhzZI3OW+pylP6rf0Bn+XoHbfCZYeit2L3aNITCMWlBBMYy7juEGS1CeZqER7HEwZCZK/LfI0SJmi/3QSMMlGf8FPzvGgXyZ2hx1HlOAwRQoF1LY1gkaxkaqQ4ltn/rz3ME7U/tk6YfWy+L6pAMEugEP9bT6hxF84s3zs607CscFU/ltujZ6w7aW3kwNJ4w2XVoP225lX+7jxodrzy1BkzCAvhyTNvyMHjPx13Js2l7dZDf82ZFzoI3F094eIll4mMvkm5iu15Jbt8+GW7X0vq/m77mlnhTSwdnyKjYNkH3idaxftW3JPZRH9n+x0zwCh/BMCBZvIZgNfeFy7pdLy9h86ODfP/UioQ2PbRMXE1ByZmCxG7L6YOy+pLTnYMYvHtxO410WhVHrzPmDFdAJpC1LN/wKHU8F7hsiJGfIUysgpnEGxzPjPO9wV/pLMIrmjBfR3jsP2ZNi6puWh4hFZoeuCtLJ+dajctrFdjo62lYcaDb3M7KwuKFC5btzpOQPsMr9KBodVrrtYBD/xPjul4M6wezba1tCAVkm3/QuOmhi1p2oRMOaYuWEQPpkOQnBDaClvzXmciCk/ixn/sSJPG6J9F7jWw/ySgbz/mnIGuRLIER7CsAxynbGG3iJ/e4iIypmLh++IGi/DmNHZBE5HszpTueJl6IOndx2ZjeZVAg/hQM5LYuJnbbgUpyqQ8ZwU2HTeD8glhWDB5Qd45q51YB9BE42WB6vUKagCXjZPbVhnqVn4rpt+RSZlqVExtiuRTGyfTBYwBFkmOuaPNKK0UpZtyUNOMCqfr1NUg9xENiOy6ACse0DMcONw9Q3UVEYVmBXA0dy4GGL3s/gDaQUUT2zCzRmcJ/mkFLlKMGo3Tk/V46Uisx+Ll5oR00gkztKPx3ZisxRElW6vlDE/5YddUEbn3v/UGdanrB9HRouotLQRHWaYeGCizYna1sghJOa3/SUV2baNMXc0MX6PLUYpqyhYnpH66yE4PNJWb6CMzHH+a1I6QCibFXqk7IbqlqfMwoUZ3pONOSB3egMribrXV8bKvbHbhsJpYaLVq93+Tgmoqehs0eFkWIafhjrda9YIrSGdPfhU6ffqfxsalWRv45nez0r4UJecHD6JxZClPoAjQKVgvqoSOZCasNey48ywIvG6fccaretuhIUNptEWwPVZv0D3BNmVk5wS4zla0ztQ/Uk/LS3Z9r8+8Di0uLALlWdaFFi55LBUhouWPHat2sgkj2nf8w5EHGRG/80Mos+gKtcNvV8sBg1izM+RLtZ4Hs0UK10NVMJ5ypc8rz/Jr+c0CPBOxdJSZLGxvpslXTBQFt167FJqs9bx8T6JMaEZyvOdsOJDMDlEOhjnONJURWsta7hbF7NQrMwFC+SrabbWqCHeqkckLvN6TN1RhMMAsPDNuZYiQoVuffCd8LF8P2xZd+1BXYSxXFWAGRd+VhukBi39FTWfESyAXH9pSeEXs/MbF2bRvMknIb67nMMcSQiSdYjS9hbfpaPq3jJUS4XIJdkGLJKTWEUQXMz7bpHs82U5KEj0z5SIUgPdTG7I7sG9BcPM4tf2rPso+wh5GqwXkkWqlJwGhBk69eR6f6cNeMd4q0KK6ldeB8KB++sEcgf3qD+/BHQRxN0LVSzvUiXLsyQfZL3Xg+kCgZ2kErvWA3+7GNTmi1fy4VWVN9NdGKkX8cI/OWa06+cbSt57k1BX6WPNDTnUVpdvYDlyD/xFeHgrH9yHKVRHxWh+fKMp6AvYrUEaMwczwGcwFCEczJABCd0hGgthrC5wa1E/72xALCyt+rr5ZeyuPf3AcJErC6e+9sVz8d+X8HYoRnV/WHSCDxYhP3DdfzG14c3hb5ScGiSlqqcLkQMm5LuhzewzNNnTZ9RMRXR4clSpiErLrngjOtB9RUC1zPKR7YrPF+UdwTOUQJ+xwS3vSiXwv5ouvywixwqKgDd5W/Ht1AF5nEWkggM8MgKHqhhb1zlEFfC2NJYJ7YO36ygash4edK0+Vy2ft+kJpulKWDHMBTjRWRMBQMWnGyvhXZQCPTRfforu4Ge31GefidGpTPvsTJUES9b/7c/teadB9sJ2BGACCva/qxmPnXt2VfkoGA4fK7TfSBQJqXNmlEIxynNS18DdnDCKHdL/bHnNDdf49miCRQWawAG9GK9rSUtUQum/Amkk7Jx+mZ1cMNtKmBCY6wv9ybI0uEQSGoM4djjr4D0EcqgrZkDvgWgox3nwGC9cinL8k3RRVmpWDJK5z4S0efFjNfANmCH3wjRjyg75Oo9XSANTFtHhYhsRfMRdNrTZN30JElYcg5/dP6ILEkZqMFi7qRsMRxKPYoyVrbuGWNu1smWrreqI+3WhCwWj9Jn7DW1yvfXpHzFlfE3hd9IMLe0CdimczBSbpBKdFxtAwBmaE2RJa7D+/THPShLFZyUiezA0PV2rY82KhZTCdSc/5t2Kao4rapdT64YMx3ZZ1AjOybSoR9I36ALbfUUk1iEzhke17qAqSEyWMsUWRADo8MKoK9KqnyMTlXSZZN1DXcZkzeTW7/8xTnzQwVjuWJ8Hzl+Yt+qT0YwLQ2zvtYUnTgbqsME3PHkYxhuM3bE3Ptr9V5Vbw0ivP1dvciaNIjicaYKrxzXMdf+kcbjtQ8LmmPBvNErqqf5TjFWfVzsi4iaybbFXG5t+ExszeP2/X8RT+cew4V+3t4FdHtyjzs8DyMqdJFXlRNeZEivPFwNR35H0H7Hvku9V7Szjqqb9qSo6/raZoCVk2YE2/SzEH9D+QXzYMXVKE0gmp6wqDmTHQd+NnS3TdIwz97GTMw6Gcu5Hi/9VVk5ghIHG2Jy5NKsYOVXRC+XRmc4SKc3SFQTf/zIotrZyqiOb1+v4u/ruT52zt9Rn8lXh6BKOTX8Chln2Y0dj/Hvws0fiQYUTT2m088L6HRE0sIxTABFggkaAo67XMqt+dLNZ0kHluIAM52aINjT7WRq6gNgeEnTricWEO/vtpRbX7eEiO8PgVVHthxnvYRWrW8bBtIDhF3ipJ5nSRQps4k0hHTgvy7oM2Ig0oirIElA5IQ4kW8UmO26TVseO/RDSzWlXTdXM26FAVPD0p7c6TnnzWQcjFIvmahQMUYqBx+29vPaekrW7TayPjTqB9ZaYiT4YiVvsSLXpYU8LjNQdPRZmrfJSlDIvAKlCaiCaUxR5bjsz+E95oC3rEyddz1vSiyq8Vcrw5qwPkIe6PdGhuz47Jnjar8ylbnaCBigLISmf11DGsnpHCzKySQnkWGOIAYyTfynpYZ+hSDfLk5FauJWYkQV09+iIyyXo7wsl7Q7k0mS49FBl9d0BKzJKTRohjzsy5YR4sCacADbz7r9gjoLiU4WWhCYLhdj2pwM79uaJQIvPQaQvS7oWvzDCissrptKx3foH8VxbNkLmP4NnHsKvys2BkFnGba/np7y5YkErYm8R3oebfkd672s7JiGOLhO8W2J2D38xY9MFGz1KCZCAUcpXVdHumBEuVhPKRev2evLQ/AxBmHDVLUxWZHwxE69oVXgdaHEdQakNUYL2Pk8D9alBOUDxVvJRsJ9Uuz9tkz6meYg/yKCq92xzouyAHA8DJh901YdSOc7BoRtmsquOIBxXqShDgXS2VEHUYeOUA07iT/o+bj26qITDyy/DSgSWoVZhFRV84nGqwYbyz9tRAjYWj4u+Xl43558+iY5PXcRD2W+mby8NZutZoKYawWirDxcKCODfxeJICXSbMf+tF6fSJIB8Dox1+U52yYsk15a3knW3H/gMI2Es5Ocy3BcDL3bVQqBxh702812j+eP8Gk5aS7SWk0mlvRakCbdX2E3fqiQ0H2BFvYNgkxF+G5i5EggWR5L93JhogEmB+HVg0iWCZ/HfZQIFuomHLD48Vt55j/rVW+DlJ4U+iry2N6EPbVL+wSGdz++3S01soOrbXF11fjxp7F9fIk6dtFCJpUjdEaCe3XxZz566FX0k2Ns6Wqs+xBbmf/ieP8nRQmJyJPW096WNV6V5VGuZtyavFkQY5ZeUK0uKsA1XB9kIeDJHmT4XQMScnXSEk/idkaPfVVJVYcpSGIrbct5towYHVy0KlB/pwVBFFaK0uttxTlt7NPVwuEJAYaa6pDttEmVI5uF5Hy7FSxQsR3KSMEP1e3QkttQw5XhIXh7FrseaqdI6C35RhZq+StOsR7YFKsC6/VPNRUoc/MQDTByJdAf4UUNO+qHcK6G62QhNJf0a84QF4hJksDE2GLwDUv5k5hMPG6wUn6UlCh9HoWYHakr1ew38sasY1p87vFd3k/hzWOR9rde5MN0m6r9J+9RIZPNdFSiuX+stciFDjflw9UdJ08Q2IDEO6WHkbD4yi1U/ET9MOmo3moC277p8jGqHdCRK4WNSCeHdA/6WByTU5+LrPoyNixmWZhakY/LKAJRaGMkcF435qIzVQufrG+04JrZxRa6qYL8LbR0gQuEcbqb9y/AijZfuJ2CqGTvv7lDTE1pTGgtIU6iB3bXmWV2XadPvBj5v9d4WDV9uWj+UUu46iBsD+j05FTZ7FXhlBR0/TL2XbOuooZbi0pGtAsWO15JA9clCCHac/GlgylJG2PvumkP2ctGN3f6ybbpXGRpcU8LoSNA2O+GtiiMLgqcEhKJYByinMkib8YichetqFvsCESYkzGFJk4jfxNMchI4Dl18BygnyWwotG0K2+aZ62+OoYHdjjrZvl0Aunpo+Aq+m2y6qC0xWPi/8D+c3GJZBPULheuLhS/FETRkNjkK/kL/LGgoW7ALajdw4zlfLugaeLWMPCUHmhXbRnlTHrVl1SDLyUPWYdW6SoKMot28bVxO6d4tbaLG2hZQnk6BJ+L/mWLfY4UkDeyt+dwF1ZJsIVjYWYI/IpycefoLmNJGikd2byIrPLDSV40nVso4NUuAlJpFU1DEoN/ME9YqhG6GXP3uhbMmjzclfJjW5FCTdQyjE5s9EgA16HMa8nb7JseBj7jlfYmIU8BG1tpMLCzmFuL0XiMAAQ9gVtwqudMTyA6jxSx17HYctVGIvFc/S+rmWqoIRlmF9xHgWlzNYPCuC0rnJJwTy08PvUURarWEpxpKWdtOcNPPpxo9WNMMG8i0omSTqpCQwsCZsLJGVYow7yPI251O2TVyI8hpPi/ZiNQUK8CFEHI6LNkUjqNdn8VHPyw7gYMEOjT0j1j0AZbMdjn2uCTtnxpIUZhsP4K+cr+vyZe+V0ZRmsyA1ORavWbxJL2GvYTgV1o5nHhwOmMDJcMMYBPSkjg9XMjFUwnAxprSgNmOfPxo0AIZtiD5nL+Inw9aE507ybxXD3XLRvSX/lAptmO3j7hZKT2L3hOwYVcaqraUcFiD1JNpZgzbH1KZVijUG4X304lpYfnxvdlhifCT1UQNcTMaRYholrxVNRCpjr7+K0NO1OqZy1crrLAhSDEOFzpxHCLfN4DS00JvSTfvu8WVhLkJ24oasJySGRVcHVxL+ZJqNESNuhpd1sya9O7gYx8eeFk1K17agyerjiFui6NNLzWC7g9iwI2u51LJbHUPgNU8KZkZGviNZebrKJQzlOg8/vEM/tO8h8RHnH5jtTnaSpryN8KiyFb+O3EpzIuhPHjI4JGHvr1lAOwo7fP0Ipg4ihrfG6toSHAtGK8LU3i8Sv2dUaCXQiMyr5xMnxpsAGqtVpLGUmAqAQmh5mGq6b8/dMkFLulL/RlH6Ka4w05iThnZE99QwxFLtIegsCc0v0V8BABlfrVacmWx1ZGqjpYefbHMFTF6mJEm7fquYEmx9ebvWMeoI761qO+WQBDb8apFLFbK3nQALg9k42kigf6LLUsJhxljaoTzaYVrJrho3FkUl4RO1RbofMQMk7tbnTNGfwbmt+gkLM5AUdsQ0hBr1ULqmc1G5FGrw30HQN3pV2amfyfqKipuI+bepsvdVSP/6v9L0SN+6otWhcfCLQf7hvehU/VrDM7JZxHoWsrmyf68+mPC69qvo+oq4A25F4Ni95uUcbABg6zZxFUehcQJ/ssA6M8k6jang4H7+yn3KB21NfqeBBZmVIwcw7cArlXIMN+QnQihUBgfbn967YwaFCD//A0wWAfID34k7ceu7uf41ZAM+FpR5DrfR00A9+N/Z2L3rGEMddcl4iQm7gQ7UOw0TtpISfMQ18klAN7AcyJg7+gnJY9GWTAOkoU0YAv8hSxAXtE/Ns2J4g5HFlEH6g4psrbjZQMpuMJ+X6HjheCxdRpDKZPO2NE+ar8MS4wbFnrE5TGa1ZWNDqDk5++5K1l/SEMYSztvSkxchACFBgqpWmfdiT9h+StVPqZiTJgAu3dOA0SsMAeJVnsXB0qOZqzAJybJ5wxau9z8jARHOWhy5bJNIr++P+0jZYnZzow9fhYd/Pys0pe3j3V3TyHEsjBWh2U6uP6UQuSH++9PzTODNFegYVb0n2BoNC9NrC4fbhDrYT+I57vPAPfCsKToCnqxrEswNq9p9LiZ5ifbc8IZLIyDDN4pwdBYUn/GXvBJJckkOcMz2ugnxtBAOpRV55qerVZuVkQXFb54kS9c4awANRVNzROGllB54f238QbP2vym7wefvEuo3RV+DZzylodXkg/rhoBAoCluZJAQ9pZJ7xDkzcwG6BSx+gv00OwDzE1BELG6lUTE7fR0LetXyi1UqCnO/yU8Nfih6qBwRvL+uFbLCIOk5482CBItwIauDFtqB+/FEeEtnwhcXfAl00mEbPlNgJXSbaCg03kmpAnkno6//2HTlDmuv7AEg9K7aQUI3FmLkZytFZ0h6k1GZ596w+zpuhJ+maUjIl3kEBVRtnX+QPRrfwCz8SY7IVANdGSGrHorKUD3A/S8sGdB5x36zC+b2SA5QTu3dV4WbdfEcGjHnr36WzUCR+lr3R1vjoj7s+lG6EupbF0PiYfZk6T0B8ZRRcFLGdXOhIM434Z39wZI5/kFsC8cNSbm+aPQP9TesqWtuuXXOXpCGV8ijCYomDARKHbh+g09s4+HI71F+1M/4JErxHhz0tULElE6Z4d4seK8twGu1MTrxOnN7NAgiGnNOTQznBB1Su7IuYe1ivZEe0WtCRfva7PKRVUozNOm0SGvHZXpQ5gHeju1h2QCGzpnhA2JfkADI/Xm84OGoWOTYfXvFjNqsiNE5H4x05/N7cabWXITDko+oGRQFJFBRaTSmvG49Z0rML0kbOWKUT7aEhjUskYzkdsRjkQSApL9llSoWAUmHJRpACxWb7XG71Eg909BsltWq+dLY4k+xGDnjbXJGThqL6UVfP+UJ6DCV/LRoGN6eyOXBAfrZEzIwRpm5CzTqJVPs745Gm68YABbkVoxETCiuRir7iIjFyC+9mXk1Pmk8a771rsBwPrjXA+TiU3Ebr3J0LiTCCdBUOisL67fw11/9QMKBJ+AXQ7KSvRZQve0Z9Kk5mue9lugFn2hgaCSmQgPR5Oe9em3Ua+fiQFWns0uZxHWoUOOvINzCG3GZXXVkTma+hzSLxB9yLTGQdy5Q+YEP298khs94zcVaek7se0kCdVTVzRVX5e2JaGyjwvdT/QoGri+eIKFOkhtQ6JRDiPrB2FnzI/P4OLiILe2YW+3IV7xspELPCKLQFXUXaQG6XZf6PVUYgXXqwYDwrcBKi1mu9ScrgN/CuB37KJfHjOGV818fW24T/hl/AXKKThEbCVzkqpyJJFmUtP9yggAdJe5tGNZ3yEyneU5TnXw7sHcUM5fsFM23C1ymZUglGjuzbMm23kmOs45xQ0D7adijDbJbw5U0p8M+CUhHb1VT7mEEb3yEkjds+yhn41XpduHusOS/mzT97GFlYJvNzvtCVo8Pk/TiQbOGbWrHn2TMzIAlSosW/hA87EnVex48KleuYlUlsHv5vNq2ZMzKY/C2OomFhZcp1dBAcdbKXbsp+91T5jq2yIg4/Osah/M8Lt7MJxX7ZXqwKwkqK+EYm04ohfsC2w5JK2dzmKhtDnXAcghTdi515o4UuFVruCli9F4KUqjzGY/MKuaMNoykR+S6OwDfhzeMQLZB06Nf/LlRX/+tFixtOiDkbcJ8mvmdsasZiZk/NT7rnPgi/j72TPcpjQOiK9pErAh2wf77iQ+MAAzMqcHFFKTAO671NzJxDerDK7nqMkZ7rnVaM4Bk25q8pP6zsDo06Evpeq/74x2KES7nANUx4Fx+0848O8NF7KIYSlkLTvgZJq7oav+T7FNiU0z2iEBilXJw0tg1J7e41bgcMiF/F9fus1v6jtxIqtjj6zNtf74Nn8v/SZuM2W2CeGlWESzE77l8X24/9aCBe/nsNn7par0HFDEs82inDuZ+0X+Py8rAFx+MZkhClH7lJ/g4TNO2r9BOA1CJv9TtcJST3rhj082fZwJZ1rQgkW/JIChBV1J853D0BlJ7Md7QZeouYPyjrh+Y8kcEJFA2aDs5aZWxicpDrRVms1WddXq3GuhA34B37SpEwc2W/b97xDu20MRfnmp4KiSzAPFqsa2JJ4j8wN38K2KTGS5NatRDwdnlmzL5Ove78vFvKJbsbSi5L9PPZkGoPQPv2k+NlpC+KhViQ60YH7Me5FBbwX/s+lDVzMt6XWFQfh+VpfIOFa7hZWu25zc6muP/ZiU1C06hKCUqylEid60UNsIxqrX2s9lCm8KESFi+vjNiUjdbFTLLeX2RSihfo6gjL/T76kgOo+iOxHcE+Zo/hEoEjdQ+vHyz2xr4XqyGNMGxcilCbxpVFxSj4WgmTjlGG0L5CHTlD4zm1JzVRyIlPsULzpZVAjJ3RXHpBAW6xHf0b/lP/m1XQd5j3py39xuIjjveEndjhux6Hk+eybnYyzDvd1KAx6WEyFjyzjf/2wPNxpNRegiU0mQG6eMpcZYDYdtckNwGwRZDrCLufoe+idPYYpkPluL6mKsE3ZO97MHT1RGczMRCZHgVVj/PBR8yPRspOidBPbG7Bn7ZtyYZeufo+HtbaplT5tVzxiI0iw4G7aQOYlCup6gECPG/sdaFEMkarW9owRsYls84v5wDb6Tlg4Gym2fqMJj5cjGTKcSU+OwFDK91pKHe7mDgui14e/CLNY5IHxj4/f/nZ7K33TkQzcT5vUGd6BxcIFpHWLLgsDSb/EtPX+7+6ay8f4c/Qr8d5J6XtFHRsz+8CDVYotjN+2GcA64blZ/qEgTAbNg8AUH6pe9PQqCWicJPDFT/mU5f8qQ3joIMk8EG7S8sCJR3lHwK4lkLlH/qpyKWItC4ipTabf7mqZiJBAMFz3b1E+4NoHT+XMQ2osMSGUrNVN9FnY6v85cu8F7K7ED9zRNXmBP7kkPoU1eNEOHCokxfUTzhYGPA2GP4L2Jw32/jq+43OtityDHmNJ4KYQsTQnZuWCtRviuhH99bKx6Hp4SdpuYZSrhmsXio2+9bImJL0NYIvwHVzxuAsBt9lGk0m90RjzR2ufzPFBAo/93Cpehct5XEVPrydccr4qd5MGvBsSu2p44Bq1z62FEQMeBk9XpJ69khTIuOZXmniFap7URFKEUUJWsidQ1oPYpRPscRpU9Bbozip1+WOsEOibjYGqjjH78huTMdKP2ky24GRgwwbict+TQL9omcvO8jlnywIb+23e9/0/uw9e0cm45pGb6jlf9X1wNM/PPWXCX9i2q4RqPm9e/KBAQZqrmGfwgbsoZBDMQ4MetSKe/tPwgrTX3TsIRyCk2x+roW/gjHPjZt9+Bn1QNgpYN6INOwKKPF5zudrdF3uMbWlBAfMKzJHHey0fRkTcZJHOWJFG+jykc/HH80M9izB0L7pF46wbKEAEsDjIeKCX3KtEB4ubATE5YuYapZjTqflHlheoh5zQCMB+FbZvfv+Wp1NsXbj6mww/oJAv2cGPSAxMjOLLGO+HcT7ZO2ikH9619JsygqRWgpj4MXe2079cji406Acxnuy01HhjycClwITN19XkLPdYyvSk9hsXWlmHCFeP2mUySgPMGIKU6S7pe0xrvrVd82ddDW1dQ4swr5Q/OHzIhCVgJvxlSrm/Iz2dY66BsOPZ1iriH30qyuetA32LKlxQHa3JIY9NavUfqay4ez6zaiG83J+CHAOZmOVgAfW6waYgi6ePmIu8ttCalTng6UaD9NGuDjLqcB+sOHr+bhBesQUNDuW3AWO3Ppm0k+LucFHSFdfCF2Sy75JcnweB9iFklKRIPR0eE8lXPCxEwCI3LkJe+/q3Htfg5wSeXcKv1fIF9tzVA8OuEKKR02yUuanupfflvy2Z+7veK6fHSLQIr7nUKfKwT9BlMcf+3Dn1HjEnujHBmCklVoPrUad7K0WRmaikcw2Kjes0XTJu90kto6wu3N4+A1PbNNnMFFIo5/2mUbBrQflqDFDwJuRSvbFjSiyWR3NsjiQwQMbAkoOCsCdKoQGqO73AX8JEgg+d3iH6lEx0t/PKgv01W0ovfK11CeMH4JbyEwbb43UljC5ZCON3AL7824hPaJaTFZ0dEXEelX4L2IlkskJ9H39LHFq8n9HXF9P2vZrnipKIOCUW7jPAUwz3mDqSPhrdKDpkvjIzUuPoJKFIAoLQ7oLLJ9kJqR3Nk3HWQoVlBoacXmKCj3ZM/12rGBO5/h8l3NP/jVWttVWshIBirx9oJzJFS6EtUUVZpSTpcIfhYbnaK4LhwonCTpFSWENYaonAin47vE3qRkojgqMhx2genwztyYI5DYR9iemJPVhCZ84hKbM2OybKLbMn7VhBgYN2Oo1yoe6He1I3xTGbQ8SFSITzi0w++0QYNbvs90GsRltQhxAo97caXsXnctZcYhsEqTaEbGDvytkPtu4P+i0/5jDsSQSQdsPf5F4phLSBHwWdcjLQ35oaDIaAkNcQsEM8BC+lmyu1xhEDA5GFZnZ1TNOSIOj6LJ2dqZfOHnNyrvB8Fjg7rlmgasHB6rNbqm2MpKdJUSd2Q3emzq+onXo8AeeMdDezMRpeHEsnyDWmfG4MFmZCiSSsbFfYjtxqH7fnDJRxZOENhv0WVXszQ7h+JHzvlJFiHvrtQ7F38wl86G2J98zR19FfpK5WPeYVgzk6XVT1/NuLaCos/xwTfp0LrKopF8IjaRSJgtBhwsLxf9msHK7YRkCk9FvmiQfRnCJit8MIvQ2lUSAUuKeXKvfAQYT1WjAbWAreyb3WaFK4n482k8zP+SgraKChmXTLxHyiUrxQjguRldI4BGHH+UNXAmkiBdOcOzXK1Ib8y20YgHpvoVmJq8C0r+RTYMDOsCz2EnQkcRs4s4wI/FWzUBc2CmCMOAUI3pnQJUGYLUeLihi+OVTLAAh8hFYDxtYXCdJzdSbmWcb24SZaN+21Jp7Gxe6qeDbCMPoOQWRnPky6ClXO4Keftk44e1nUcbVVUdQbA0mOWyjM5mTVxCBhq+XZG30T6NyMujIwPN3YATxxWLwRdgyRuVqtBe47czBmjaW6lYjXEU3u4RUy3TbPzZpTszR0Zn9ZEBUbmRs9PZSIs73bmf02aTgrURlSIQC8HKkPc6ZsPkaecxznQIm7Zf0oHL6SndeZuVm8h6m/iSyNd/MDghFCjW+sDB1EbkIQVTYu8ceZqUhekyr1IB2fT2gZr7NLbMjS0+k29X3fksyJzfeoxdCpQy1jPMHsamhNsSSpnHaD2oVVVSL6ViGZEYzSNIaFurEiPMB4jQFbo1ys/tlMCPEi+t7BdV5J2wtDZ2EcQoCmd6jFiQQ5ganOrD7prh6OgrhF1Vz6l2RCYNKtc7yInPF2WUuDkEocIJA28oiiN5F4LDpuZKkRsw5MKDfYUHn2nSUiBOM4otWdYvdLFvhns93i/n7tz1lVQGStS5U8CZGmspJ1uha1pZde5TpyzEdR+XLSy6N3UoJLckewJHTJVAetmG3711pnz/KP+f3j0oze9hqDlcDCzBIv6lYtMxZIMjL1IhhoD38UxnKG7bjE+OoDANldOR+CaVIT/Z/4+6f/F792yOYaifAJsp8+WnN5mUeZzv9Csr2nE8MfilCk3x1QQAXbe4or2sS6rvME+LDwn6jMf9oGPupoDPictJgfBrRjS59iivGZogDjpy5b5arqMIHr+Rqu2IuG4zwiT53XhcKg+v0L9qid2GfR+1KmI6xWIG/sWGH/uzGzHtkQ2aSD84pmo3TUoML5AFQg8P4/gu9PSTSLfNlKkl0zK2Iue+vdL8GRykozJ/A2AdovsKGmhUb/uqayhpuUlFKkKVVq+eZUxcp8ziv+ZfaUa7i97cHmjvLvkkcnsDUYPd3LGAbOaIwbPIy3JxxrTP6ejcusrwecAlh5sw2p9nTl3yTCa9NhHTmimxHPLyBsiTwFY2zcwEuLWyKnDM6XldFV/VGb8gA63tzLt3JolRZOwFkh2bpPZackSrMASMJ3iapCMEK0htW19q2a8sg2A4uL0jNXoj0VywBth9gBldzzXjMhglSN3VdlJrjhSR4ICWfFas7kRAyBpEiC6quuhFt/tsd8LLQ4STklJr+tRhl4TlvRbLSNC57ql8lGR1n1wclje+DRn4jTc/I6zzGDkfJH/AfRMjNtTfpkq90GMS0/NPLXh2gTrXh1m9oeJNMtgd6l6g/Du4Jaf45lBSlMtdGrPBk9FkBaZNk+lmDY8fVwLznco3naIlrCuLhUtMIONh+BjmTbi8z81rV585ZIYeGIWyPQ0KD/vpHpw9Oi6MUXkz5XbJt4xBmDxL/fktrczcFvrTCdoDj+chlXUpIkkxE7jII/kQzWyCTi0WWN8TTGVHV0vMO0zVyZj3RZCwAD8TihDy86kmR88WaQsr/ahw3yLS0g/CIECdnFPOONkiHIVLfy0PgIuH6DbW4lhJsnDztCLP0ahn7Pk2DqTPd1SAS3vxuKekMZDG5G03txdI5IYJ4TZ5XgIE9KNE0t60I2DJeFaqoX0ftJrk+4N9uzD9B48BigsHvggWBjaDadyebRCed1Xy6FZi6jDUpkr1AWWE1WqBpIg4ojmiG8CbJG5RRjtjOegp/EH++rbMnCxkKe6zO0uqQt2G0Qt6hWDGo+4KHtCuWd3SJgFuvCu5LL1+oDe+bVVpknSlfFUoJF9jg53FeZMns1P0A6tWDWWTe/WuZLvPBC6qbMYgF343hPIuMvUzm7/qfnHaJ21C9U3Z6+xT5F7gg6RiwBDoDZOzCU8WthzL3fGOLI5WstvDMY3cgj9cMB6ld1VYd/H7lbjdxI42okrVU/S8JnHzTisS5ZqbXCdAPBtVK/jJyg0fA7T4Z0otw+/fzpXZcTvKa6up2wYySAVOajXOCHr9RF8EAXGBqL6SPIQ+WKCi/0VDbw4V6vcMy17l+JPbPoBYL9W7Q9PV8LAfbzXHfxg/vL0Eq8wPG7GAM7SkSF6auj5SNkjbV33ZBP6StvMg9T6SJ1txdFkAl3Cao+gC3rggctf5e3aYuZezD2cB4xnWC9MLtTxq1891bQJYPsv5t6YShAjp19N5bfl82gIDH0nI0/oM++U1lwPQ8zcZMNWHm3JT34ByHjLdVvcCQhOh3F7OLtjP7BtJ5ZU1kqR2ABCOQZ8BF22Dt01utyzgMj8b+1DqZkROQOW/jOmE91s1Pxk57LzPDRZv5vrwj/72hpozJrA7t1AAkuIJf024x/WXk/xBIHe3NRryCH0VpXjMBXAhN8FQnE+OMAiBDI1Hm/Ey7Nwfqb8EDOd38JhUraiQPiflrLjN7SlpwyTj4dZRrRrJMkLKINsURA7uW6848r8RSgfJMYYJIjYL+l/eNlGhjRBMXQ+QO+qQ24/uMshId+b88lE5i2JW/pkCEFf8ozu4K0fXP8qkR2x/ylf0e1YAWdpLmMc9ldSt2+TrdjdotrdV+ydyd2gJdygo2nOZ2yqTLUyV9qn3EWxJJGIp5Nm7bCl634YYaCtUdq0gILluQec3gxsdA29eX3QhAlI8ZLqgP0WPj6yYBZYz92rqX3rMZTf2/JW6s2RWYtRwpI2qTyqtVKRWJxqLqeJeF5Hs4wHocaTLelIhW0yu97nTkI7u24y67Cv12IBm2XKF0Ddk4xmh18ypiC9Zbh89UrBClw9Gv2ZTkTCN84pjG3p+qPDH8sXCoOznYGfQOw2VuWYxaVvOJvAceoRZreBcikginLYXCpuCRBqIVOh5IUifCHW0ZmW3CrJgcwCwwoFZZE+DHa3QYMncDJi0wub4tkvQAvRHysPd8ezkvPE3eHyNj0nB9Ct40+owJTwT7VAXxmECQdxue0OiBBQrhkwyqGU3laikgXfsZ5ttFhmnfYEGD4ctiEndm56Bo4azqoWasTPLVlnJGyuH9PgK5yrGKFuqijByYMvNXVvJB7SwNxOL1yE7JEOilF272kgU+PSUFbcPuZXBfHTblCMEr3PzNvw9KpY+Jxubi7RECgYVMz+DvuU7q+GG6pZcVkIsCAIQbLMCw4ezl63YBcGKt7rT9TAA2YzhSNMy83RAjAToik8t59/YD+0jhkToC6YCMLEEr2zKT0Mn5Ma8X4GiRvoZ+K8lvsrvGh0+00zovcGTCL2whYT69PRDP7kScgY7bjAfmn+fSY9sFPC4ateVHiL0foYTZBieR9keP1uRi73LEeeBzZbe1w6DQQ6huDKK7Z7ZYCRRD/qaAijldIDRSZVtCdw/G6Wr6ypbEHGOxyfKzelgNYpr8N+wFzY0C5w8YLiqVAM73hBix7Nf7GdITTLGyNoHw1gL5lHLLv9aLjYQmf2ML9rsr5cdKdoQMDLnGLzubOh2066TNVXPT8yxxItjZgjWSJI8OqEwsyzxOn4TOd3u9tgoKp0vog5V6b//ygItwzxNoU3PSr9/BaMrxgi5+rbix222NdpeCORgFqR4RvMS/FLHe5737XLZOnMRhA16n737wxp4rm1j4aNWJO1EU7b2ciu8LMeApqkXdiTUQHvLHypmn4ZAR1Yw5WDvRBAnbmYeC6BdefDxN8imF3llKlYaEMZDyAySmEhiEJ7RURSfiGOcyNlsomUP3lj+rJrRWc8K+SLfP1w0SIOHSW37yutZunpX0IovauHygk4ejMEoDOpLI/ISAu2YQKYh0EqRe7yV5xCd6uGvb+JQlPhCikx8DF/UgHJnnnSxDuuZF9a2rrl/IDxlu1pRT4iPOhPKc0mBIRE1x9pOwldDbGyOZBnx0SSf4NmT7zMrqik9NR9pJhMjm1qFJ6TwuBHvslP97X12kz71/meYV6hqJRFggmgsFLgHZUZDObEsK11rtMRH8wSIsYHqB+OX+Eex6l5F67Eef0bdxuf9TO+weSG6cnHoguj+1V8p6JV+C1kGd0KWStN1XdmCNZwBTXh7O0WjApARGf40jzaQtRUlAUJQf0Y6ugjkecUqI98krhx3XeEj+wEJJIrvmMJu81ltQEscjF4M2nvCP+L2UkIyATSQhiEAhbMWLCUK4k7GTpr8Jn0B7prGguSo5dlQjz7iV3e5nw7HHKhpV+d+gFe3aSxnzRAbf406eYvKzhqc7WfFfUwOVqH42LH7b7QHVn4A1UkGGbmWjZztssXi8tc/9wCsPu6UnB/4uPzponsZrAmFc2C/fMEBbo+IO/wVkPeR3IhkZDeyonmHzUFJwMPL94YyKJBGVjDfOXPh/7bRRXyYBFHYtemP3Ojy2s7LdfY3CQipprhK9H6/xCdOe5FzUDLrH6p9wWbBRNnh9eRM02bzrse57lAMFCyumak5Sr66konsfDcYxjT6yqG0GYVGZKGqaI5AnRmhC10/iM3VQ/Q5+BAwZBOnGv2A4sGVcuAqsq5f6nlxo3kPt4dAsTBoW92XJkb16g7rpcIh4nju+PaFHlf4hJLCferDFRJrRV/D2cLg9eluT1F3KUsL4/k4Yt2NyWZeHU9MBqgYOieaBsbdd9MKieXEyQZJzljHFosAjpWEVF0XN6RcCXzjTgPUw+goIDlvCS31UIM1LXx7RN6H5D1OxulLq2yx820d+R98lCr12Bj96vZwxWdCDAdx1FTER4q1SEvXK6aKOXwgjDWHqaN5/yTYpMFncWyGxEw4/+8L5s8QPIIehpHSfH7z9YdKUONIxMkffIHUWUuqssPr+K8JhXQW1WmbD4RYItEJdr7ErDoLCxxLSn0H0oyeq3bQjX0CCn8dySvw0MpVRFkeq/bWFLKL9gsVbW/YgF/qkmBofXrqi9akI59Uyle8xOBi1Mzr3PGbLsXNG/CPyRJ0desf60BlI1ClgHbG7Gj/X3/KJvkxnJfN0fX2nW+BY63giy6UisSH7BluaEcNG9JuGPhtvOEnuslHTjus2axZH/HUon200ar6L8NLfPA9sL1aA8uz2lklRd9ZvbsndnjyoL+Nj/X23Siai0FoO61Q+z5cQKWNgR3pSCOx8dF8VM2oFidPu+KCjTgGO8pmnOee4BI2y40lC1X4zEOpYa9Ck+yEYy9We6piVgSrKUyLE6xVhf8eUGvuwSmJ483fJYScKziz4JCWVM0+c4u784GCbcXXFMrsRcNjMLdcs55AxN+Rs1tBUyAYydaWfMC9CIPluGFx6QRlH6RllNiUAlTH97ZOfQH+VF3fIcfs+6eojsPzGZLH8VPEFaw/MXGIUIlehIiRqt8l+/SMX2oTBWffpKrrV1TdE0a+L1aO5yVt5gh7Rf+XZ2aIXy0GksInslhi6v9fbkpo3SKpB0lGdS7dwfh80m23OZh6HNV8SPkhC4dosnOrYXLff7UthUSgjQ5m95mATy32zkV4IgZEys4z/D2/apEDg3bJVuyVaH7j5AEUt13rFP1lGRHt5UTiODP5oJoUTJxd33GCv5R56CWFKaVuPh7zE8yzX/vNtApeoyL8MrJay0v3trzWxgUOG5AtKkJsERXjopnb+1DAD0VdFOmGpyGzjoxuaDpRtKGYaRBekfweuNfWCeuR2qczjG0FxGz9lQqOTnkk18KHsfriTdkgggRab9o5VZK5F7qyZrrXbXr5Hf4WOOrIrylKpocpO7aZuqLkTzi+5QufB1/MZBwEowZCXl+6ywUdb9AyVFlD29zjTbsB9Bd4grfVqS7AMLDawB7soaiB90Q6zUp1m7Jho4+bl09iPi9B4zYeatxSwvfaDNhxzdI7l6BIcVOIf1kycXHfDGWis73iZblIa20/g3sReS+q8v8I9hf3tQpqoBSS3z09AgnURAYkNtJQpbhNH4fXsjqUDJYJxQGdj01WY67NS2ZXkqB8WKqNSk78En9h+/hn0rEC4IB9UhfHI9Vy73AUYTxWkVVfC5XqDXk4jz9U6chUFG+uWHHxuvWAJuEo0XxNEdquRTaWwPNwHge6AX3yJSv1wMGZEbKZgpISht1TLMUQaT1U5EhGwzgQ1ZByrmtaLehXB4L0SJIpJf4+Tx6CbVosGPXYjgGiSFjtkztINWxL+wB7NVKMzI2TOjRiutyQ5vHsmfR+vcNpXcGSsrhweOLH8bhT7+k+m8+AaUJSOOzEJlxD12Fehml63uh+3ZxsGfNWYZrFxLPmpGpWjfqBw4ETIewfDcAHYOGXDPA68gbEWudSJV1Gj/KaqJ0ju/HYc0GtYEviJ8FtWVJieBArBCpXzi5ID0X4mMHQE/JgsmJp9fmdhf+tjmt6yafAzYcoiVkwQAreT9mPyymM9CQS7lFL+RHt5q1yvZYT2B7grmqWN6xd1G+FSF/Vb/IR/WJkUOctTIouq774bCYKjXNpYUezbFIunTwv2Jh30i4xwQ5G7RXjxFLhRgYz7Y3lsKUP6QrJBsEKGC8TkKQgiAsL/LaguBA+eeH85HP0DU04J942jq18kg27uqkpggiBqo8iRUTtmbq65YmO/2ZpqpkEhcfQhEagupepVqJ7Fz+98ifpk0DRh7DYsBnZbD9eck1zhVughfiJThh3yY41+lnYPG1k36eZp+pHA1vIgUv0Dp6SwirzJs86QVrvv/4XDNbvCO62YqnkRSsuQOSDtkTcVNYfSKcRJocV5aW6ZZ0vh1ZDkBeYHG7GVE5W6BTi3AvHVtq8/YIEZSmrGZCngE/vOtbWSxxYyqosLvUc9gfuEBCfhHZNlz4DVm6vVn6kRzJpitwvFnmql1W3zH/BMkYmDJDuCtUMtXInEFeeGHc02n6zfJtpQ8oSxdyY6a0vRVWH6eOYTx5tCgt2DXJ7dPebA54+THzhn2KlGiJe2DQ1UFVwP4Kb1xO4cgO5BCEKv9XBAnitVgLHhbSwfZ6ET/+WdUWAbU1s/OBBC+zWCIuj7Oj6I9purV5oyR/55z2i+rRMdI9wxUxzM1w3DFiB8ej2J2syt9/Rycw9Q5c3Abs8icfOj4IleAIDVC7iMhcOc6BVcXE6rDVRcQL8aoHxMmFlngdLuN6Nx+B8kWe7Zwvs88ixOJu5Byx6khbpn8YytCduDACcyq50T8WROuLurnTV2WSrk5w/vDuLNChEf7MKGCiqFNzJeNi/UnzK1BXW6D+03LxksKZvNOx3YtLwdkw2z/K/1rPUToPpGknCag/PUOJL4U00BDu84l961vuwRRJCjleU5vimu6/E86SJMFeOmC0mQqO60cr2In1tLbTAK45+4Y0qaPmaCoxQzS9TUJEz7KwcD9ZUTgNmBAGKbDoZThA3YRvAkYDPlZPlU+CIMj4oHhxBclBspjc79GV7tGL19NFgmw80MjwB2xQP4lve4RjxnzNl91nSLs7mH1IHc9V9SQ80xLnxIs+3n4W7jXrMdzU6Pds0j50BDEtVgXJTxgEO9nB1XlWt3jyeLDlVa7e8krxV4k1GA8J6Fh5rInejnDsFQANB7w/cxyF75liq15xEY65U/X6Ul0g5wIBZXciiwZBEz8MqP/AWWU7fiRh25yQhyf/93EoR/eihO0cJOnTvY1W1jhZDGUGFOjGswjHO71ltTQbUnRsL/CKUO6SZuDeKrRlzFLjv1h3WR6xkDZOajtSa7rc9ML2/gtONXw4MXtHytSa5jn/Eyr59wSGNZxcmkfRZM0ujTS2o0mMStNhn/bB/JnUySH8mZp/I9IZKV6kxSmSp2VDOgwBxTToZQLYzUzwassMmWtzmIMtiEPMXt5obK6UKgnV9sgp849pHxx1XNOtVXWQBTu5MJimQPD70sUYuGt1cPVrqYsUzy5shU8imSlBGk28PWHs3hV8zqw/XoQQWTBeGoO7Y+uQZyTxfG7gsmhFNm00skrOecqPdonFE/7louyFTW58Kfgbh8HJRhpyoDvL7zq4QfR+lqHERsRfy7bXBbOhxGRVWFElohTqy6XzKrcaWvpefGrXRFamH4fZNLEpa0JqLzUiw/Hx7hPNw4Ud8IJFm4rD1qe7LYLxtXZBzKN2ZJIB7k2RdIkGB8LEvs/EVTKqYt/ObxloInWUsnSDNxUMyyEMX+/TGE+oVPfVK8+yj4fK6wfn5Ogjq+s3pbrS5ADtfWVEgtU9RrQ0n3s6PkByGqaBrb2IvVGRxB24u18HxuGucqTYyBpmZLlEFGz6XdUyKIhnIuAraNMSUi+NboUmSnde7h5g29sEbY/MXM8RBZgRNKqXlRfkFOAN2gLH7Nrx3qOHXYT02oBHiRkKZTyRzDFQ85blj22pHw+/M+Lr9yqlHJHFYO0AnRIM1ebBWK6P30tcOa4vdwame6l81KhHwXZEP7IYC3mDh1eQrTk9i7l+9kwP3vaYZ6y51zU5AX3i5922JmpNR39zvACYucjjgU8QwfRPbZWMZ5RwxWnkqR5QihIeUmhALyi/r7ITKeReH2lhdii/Q3c9TDLbbcmqs8Iuzn5dbVjbKZxcyYrelmnwruDecZUrNm2pMPdklwzSBaeAzPSyOmw42mid31r5zUREcgDTC/3IBh9QHpzPaV9zMfxDoij3Obw0OAP7Ppy0l0tR5DuG66glc797V3nnfb7Svxbiqiphgy6rC2Yi5CAWlK/bT0JtTJFL28eXB97g7U2T4DyC/khC37Y/02rznuVhB+GTn97UV3Q3XwL8a3tcFQ/oRBnrnx9eEVMe6xvUkD5IxCQuyWmOWZqn6++VgoudDsSL0J+5YWdYGZndxhMtpGjKhB8LmnfrPZUTJ3tfxwk9AcPJzgZQE6eugOevMNvx1BwG6zRvU52sfMgo3ps9+ebYB8daANwGropBzR44wYxhBI9BpSTo6o7ahfnfB4LkEKGggOTeFE/mg0Qos2Yltm7cr+qzscGfXwktZYuzTNlp6szI29SsK0Es0wQNq55INAA1lNIXWd62mpaL7Tt3nja+pqmq+Js54G1PpFuXkNz6UHrrp86Var8QAgCGdzfNxyWsFoIR9i/9JiAwSMVh3RECis6oz+FXmFo7al51+g2v2oHX5iS4LifG9L8yzWaj87xoFKYp1taS4f36u8DUOtz5Tb0NJhr/ihFsDHClmP8vK3WPIcTEaR6T+yqFjSmjtp2Oi98v/HPg9DwRgIBkENrlgE4Uve9hHQLA3M51+ABJYotPO11Ge9ZndrN/FTVxoLZlj8I0gyXao/NDC9bt84QzM0GEGzbDcUtSq//ga8e7mNYe8R7oEAcauLn0tHznZTCvF6ZwzSDBSJNIht8BnK2kngMuONvAlYaK0Q8hhZwPnas5cTcQUJPErBykJULAwBVA3j76+hgusvrD0jVxHfA87qu1tYsSzuco+dB+pygopXG61819kGfciylVqmZkdEC7mG/RqQ3hUGEW24VsEJDyuYRqv2lNaL8EpXJ65CcFXEvm38Sw1aZbxR+Sigu82aidtKdlkbR6jrMAPzzH++Xzg/obR/YbLjfck6zRoq68Ng52OlB/pe68hCMB0NSuAjLab6WjRRNisQVtm73FhsynHslG5nmgzvNjQvKCYkanU7+F5fMfQ5m3UfvzHA5zGD3YgIuRhpPyyV4/oiovIAa154o5W4OUKZ7UTQxJ5IMODBvnWygCzDEjjiKEnPMx+z1A+9ibvsGd76cN8kVupmpOEPEtiX0UCGj96DKMASfg/D4LhN2zv8dvd0Ld/c6o53qv2gOKeFrsRJcrI4gfrWRn5YyVTLFKNKCKzsAq4HAfoFs5X8bjeHOnG+lhXOihdv8ynpXkX6CCSMEgax9mexxVHEPnmXZnm3DX4dmJh+8jk7AVQ4FwtA7999Nw3NVUUMqomTYoItcmT9aRQeaQ0TFL3NTi1RLM93NvO0EuZwKB/m8XsAbGdN/elsSaWj90xZA4uvU/TN+pT/2RysI+yaXhGiro6YwpwRK9bJ4giQIIJm0Ffw5r+6qwkCLBjRsLpRqXPqEJIntaHFDvObhA0JGSF3EBZRwKZvDBOKetmehxxH7NQT3XvoxdsPpbRiadd39mCVH1cmRq7O0Aw1bn2cYYezWGHQHd1AS3XndXP3cvjDDQeITQYgRU9gzCiqpAYoukQeymjJZu/Www2LEq6GX9+zqXKiGjOWSCvUGbpN0dM94PU8aA+hnclXuGvgdAKG5mC8NGx7Pp58boi7q/ADuZk2fSYsNMvm3mRW4DfhnXokK8FfBnQszDo4tbYJl8MT0ajUT/VWR/5r18134PostiwcJHFXwAUDxQU7NSx8fj64DooFVKaoTYc3VhyS6d4N1Hv9dL9qkafO/aVqlQCMvJCMaLCDh+wdZonQZulSXiHmrl5yAZzK+noO8NFCzhKJAiL7oU/IH69+D3uDuyxSozrDCGBHftnMQx9Yf/0Rz/lgTiMj4tWdq4mwEGtWVsSYd4Zu3j1/nUgTx+IT2CcGc8/MG1rXBZMsK/RfacdukCWZqyCY/Sd5FDVwq2hFPc8hE24s1p3kGanUaWTZafHs7LIPxSpdeSAFNOwphIkrwM8/EGcnlvK6PNPCTtEcJwDLduQUfEtmspubGkY55UXF5O2J5HXakWwEFHrKhNOTNRXSk3I6E8L/eToeOwGZMCHqF/b3/X/uOw9n1jRtrfX5iOjDlulJVPbG97SjT01Eecgd1lx80usLwwZ1ZMoOR1UrxBmfx+f87v+TQgPlOhVIN+6Akln0RZBzPNTZT6pPf1/Kk3C8DTQ8+Pq/mTORaA0bf+jfMkwFLakDjj0IxmXNf2DLLSInibu4YU+0lDNN0Lvqw9Hq1j+dHIep35jnFAOoa0eiuXVT9xY1mUV9wzaUqqaEbCyy80dSR0zpfTkTWRbtReVGBqL28kNrYkR321gkCtld/xXwZ8be3jyfXf+gXDAhy9EXYIx8qL5CPNrsjFtdm29nWIR4sRhArb/zIt4L46AyL1mESEFg7qiaTuUmYd0KHB9IESJccMX3BdJwfzsC+n0qaTLstgl2EtCL/Yjxu8Y9EpAY+xo8w+DvIPva3jycghTKuw/lfTmRP3OLGXAAxIOLdvkA7tkNG1MMUCgHA0YMe0p0FL+yty0gknpodC9YJ6EVNYLTGz7GSV+Q4h7ZQ4nqZhWrzWtxfLc4g3AyxXwEDIovnCQw7cmyy8/VW9FVb9FX+l0GB2uamAqMGVMNGL4xQMRLJfZe6m0eg/SE+CLOj5Ds/7LNsUD1DLR4+SAr/mPUvmfTRqOH/XataqAoMDxMDr14jBSr+20BMkdkfDyGzDlYZZNn25XGU3uheWibFT+SAtxFd/XiYf4njXApXajbKFJtO3eLkmms/NFTpsO6FBa2urDZIQfInd4kb8Yi4zUUG0IOUIBfBD99Y5LD3optNmWFQrlxPO+UAzVUqJJ6F/6e20Tp9ny9qhQF1pk6jVVSIbrgGwwzKgJnqMdkrSuvIDPUficYoqwrF3TO86oAdlwENfx1Fsr7+265EnrWwVex3jlvN5ZgUFZRhIz4vmONVLCu8OLOSwT+ieg6q0Yx0JLvxnaKMVnT8sTF9by6brFZPB3ml4H4xFjNvFoj2sHRlkVou4CbOcIq1mwPdHbTFnr3wajAUuDKddoF7FuF00lB4H3da32CNF6MNzHYU/u61FQngEneTs6ScqWcbiZRGwSXyIUxSceRbXsoCEJ2Ce/Xdwig8MDe1vJO0VPRW2CAFT2rv5BYDdn+Ld/nvPQOVFT837iq/pjvl09fDVwyLLEDrxY0iFa6yKwVeTI9G/ryY7n8Y5DkZrP2NCLCtjucaM6jwxIML6H21FBdVP8ZSiUYz1hrtW1gE7yxP4bitfMINmfZeSTy4LAWQMSt7Flt0IrzMlmsczQOn/X0XBDJhXMMoo5bIB0AKHvedAskoFAbzay1tuKFw508hrFdnYR7Uggvoag43IdBUFgQsMl3/GeGADSrBpP81goBtjS7xGLh0edPbl8Xkd6kEbFMlFmW7OoDuIB0K1Sgz4W+Re9ij9mZzHkCV4BWTIUvflBIwGcl1RhyfVOFdhlrqgTgY/FCyDdnoMThzDW7FDRfajS/x/WJdliy4zkAHYklLpE8t8lvHhaBhOrDkMzCvZhSDSEcg4H/jD0W6JOAWC7xodcZQN++3QNq08P1iZDZjozkrJ7Wy43scF4LHZp1lqkDusLmqeCVAOFPVgIBnl5NEgIRYKcJFDiDSgb6H1n3KMxSPwH5AAgjLHZyym59+p8eWov3ZTd9chpO6SWEKj9BoG9Xo50Slx+xOsLVZkwbmrdCZ7MS1O5/UICugbDU0qF2qQ6/1mBDpHj1LeJMAtTsasUwIQpxgpyVMigiwbMWMa4G9rSvtNnwEjaKCNcbWaf1LZIYqCqwvQferfvJzDjlcCkzg9celZronwHll0pZ0VfZ4xsHRr6aWnHOWRa5ve58WFH8XxEYlwOj3oj11mj47m2mhlU92abh6J+EwGD8dfEHDQDUl2iEe+OY5TJLTYpui8QjqUpyZVloP46UnIPByW/+HoLStD9v2Hv8V4/GCYfJQryB3AJTuf2qvmZ1menQnJQiOBhu6EJTqpMle5HkHCiuayf7REBurV41rn0SB8MABVQ4op1K6OVZ61QZ0PdzQmloiWMWH6fjwe1VQ9sl8b4LUDxPVs/gIZEmiAHtv8KvuzGOta/j4jk43il8Z7esKrmIZL4n9u7rcJ2yG+KKMbvkDPDHvPr1IoWseHrAEwoda5yedjgaMYmsq7zVQywLbBHIVxG8r7brQXuJI4E7Rkg45wDTh74RlbEUTZeAgYAgd7jeM2aJrmaZ9rTcKQYXVxPi3DL1vUViLuS8hB5E10GKrj+zOzF26MrR81l7Bjd8uoZQCHWTGWVrVj4hb5iD3zpioqYvtveTBsm3rHt3XezmROFwrGISjWn2wu6NG/vUtyk90pzGyC7oa2kZMGrITT8SrkJR6IEcmWQsTgpnwe4Nt07aYDmYRr9r0FWmGwgqOPoQsP2njxGZS35nlQXdRfxivR13CKjmgYUJZqkIExPg1Mrvi6EjiGAJk97XnQB4GqwmIMQ+solR5try2L/zMkcvKwkapKp9v/oO91UUF+qKfZz8kFAJsTaLF42Dg1Of1brw15jf34ZJIuRhhTyelfOuaPx5jfJ4Q/Rd8uLfkFS5rMdsDrxDBcbEOcklh+RNAi5Rd5QHawCjj6EzDkR0Vp31UFx/2/0o5ROa+SK0Rke+X0NeClNYUFcFp6kKgCH12wmSWtHJL5bhl91OJistHsNL4+Y9p80CcjQcmwA4Y3NujMdKiHJQm2FOr0eJFbgfVYzNzZJA1SkwT9nmynCQ9lR+MuvClBCkVcV3Actw6t6oWyB9uqK6ZDEd9oyhjQtQEfSRM28YiBWcjzzakDFs2JrZFFOp9XPcs/9Si+PUI/FaPtPbuD26a9JoOImv5FU/XG59zPkrBUIMwLh4x6xRe7cSa05qQ8wFxKHlDZ7oXIc0jEGFiaWerqMr3ojAn/9xORMKzDHJGWmIeXoE27AjOBFiuY5wuWQC31W0uiqwkEXXHvApThTxVONsdjUg+b0LQFG3rWKB6JtvpyNFQfM0tye+sEudSv2+4tnbXBWG+9i1fyry+pqUNP2TaXJxfnArdKfwAhii9SBAzrQQ1E/CPuvc6zQN3rZINRIFxzj6UpDh86kTD8xx93hanUCoiDGRcPagA6ID4Q4HYmr0f11Na5721c0ZDw2YkoQi4wxDS9J9Dbk5DmXUZMLcDOGRZajLtZA+ZMKyBR7YaZjJWde9182y0Xyi+9L4KuO3U3QUbqowGYgBn8vXeQyk/fCJy4bYAC4UONToqdNrL428OXVyfOj56AQqa65zN6tpYjHx78Qcm+SvcrHWAqXdf9hdm25wo7LvHIfbkSA/gRuB2fnc87zesJRYk409+61LsPKdtdMzUoVuJcB2rBZYAVeGJnvxJ4D3w9hqOalKJx5Vf3njIR0PdDQS0DK1HIWjWDS6GjHQ0BdFjfeWZj4dpVKvufzLZc7RHtXrVIxFeX4xae12FfGnxjGESbt2MWU61zVM4VqEGwBa07ERC4ppflEK0v42pRWxYADJo0BJGDM5VbQC3imlcvhZVa5zTI5ylxnehSynRReu/OKXSDGEb5Qmws6pS04TWZl55WrWNYWptY0ZqsurdkcuoqoD5pUlp9OJYSrzav6NnmlfR1eGmonLRhbiwWQs1wV3uswqn6ayKn9VWTLyEbYy47Nxtb+cZqtURpAtMzpkmTzctukKq4IaORJv3qbALdcDzaS6RO9dy9uyb42ZLR6OyiwqZOHhis1LViUK7/FyjXQ4lbVdATfSCY0s7rQtfosYR4vc5aL8MN71wv1GTYeoKF4CE6mjqMEV+k7QaKEwmq8JJUIJA0ip77Cy8wa4lnPdBcip/Bkmrew9SQja9j4NSPI4qc7JCUlxLmEOiP1gQhC55LfiEnNVM19Cd+hv3eIVNSgnFFZlMDVwncDhKEjAZvGeh8wDZZJnf5RKkuxB/x3zrc/0XVjeHSdAGz57d4V8w8xnR/gtjA//sxuvhuBPMglGLSpdv3/gl0o613RcTLGxynAox5qExthuuhYbcFCv4Sfsd43RHQtb4PlagGop3hJRiIYfoqnXzcwYQf/NP5tjRaLEOV1dbGjnNoPG5IazzSQf7VWCaivzf8pihR8UuSHPnLnQdFfQ69kpQBptTOZtlq5CEn027nNfh1HNpU2QqlzC3Uv3c+JCP2cAe5G19G6jmRT4YxbJyaRYP2OiXvyq4r3NM74T4qUq6hkroh9EeYdSg1aLyzOMF6o8Qzf6ez/qdtSpTCCgGVSP0y5Mhs2o48zsdpMzfLJlntpDQlHwFQ3dQXSSZi4nJjGQ2de2aaqTeIl3TE8+CSm9oRvN3dk/LgtjuwXR9o9kn3FmDqfdAx8luzldwpve69Ck3h3rVophwQR+TeXw+xQGympSoDk1/nSKBxe70iS1b7bmiwIy5/yEwJHNN42hj5+BXwcceacOEVyf5Emxo0cpJZaJW+tEXyXrmkZY+UeyG4u4vNeH7mMqrfjRBC+R8KCvW4gcxDdxPKOHKe3DPjhtfvwoOOW1qeo6nAxbVl1q37ben7TJgfRbLlrIiWNpMyeH/9UaOwTW1lKdpKP9tcLZQf6HAFHBceuxn4sOvfY/69jiwnEGwTd/CXKfEKWMITF5IjP9K/08h7ULQoXOKmcvOsEddG2859D7fWSmUyku3n//bOWmOUZFsH7tOZKhf5YO774rDTdqL2q918q7TjSbqtNR+NyMjpHdhVUFNRZjH8M8cNsgVjSmLhCdT6lpcbyfA3Ft9km5MJmTNzR0+yCX7fwiC99o85J+cQk7n+2J26/LmmJyah0fEMXuObeWRPc5Wzh/mBo7nhSYPVWElBteISariEnMPpUXYAbuQ0V8KTS3pQVf0OoERMF+YNwBOBPSdQz9YRdZkxcxJ/134Ul2HddzPfU+CX9KW5JhUd4cP44Vii01m7LAoJ1BNccjPSbHAveRvuWlqpaKRjnM/f2K4fMySJOuJUQzukC37RMEtrqIvnhwIODFySmX5GTmMC1U3SGdFsL6yP6wwPjEKnqUuMHc13VBy16zkZVNYRYiWhNBth1c6dDAhbYOw5qG8UX0faw1YGTUB90uiv7BYupCqNf1wuEfViyos2TRn/5WcXIGUuYrvOKKjW6nHDx58yFR2LYH6TT3J6Eb090FtVXO42v0T+m/uhejH+mikJ7QInuO7l9yZ33YSCOMIslOHIVAczpOxWavCfX//NdzmHmNbenfrpvEEpxD5TA0llZrxKYwIfiUbqmJpoh3nCFfTz49/ccg0sloM8hbAi7S+WtCTy7ywpEhrAI57og+k5qgWMlXRuxRahgvgzvcFAqUNRMPiJr/H1p0wZPwOUHklEZ/hevtZKO2sssNNB5SYESI4OE1YkdOiYkE9pzAjb3Exk8skUYxsmoEKeAynpS4UiwsKc+pH+FBXTvmhVmWBKSL2LjrwGMzRza7TrOkh3D8Vh9AZ3tPwZSWYtEh/bItEySlKs/WGWF97Hh2tEFVEcMCMh8ddcVwfkyuIsiBBHCUaXxE1tN7erwxzOZAPk+RiRvgPel3ySYSkXwRmdE0pMGV1kLpSXDza6yqr/kq2xnJeUKp7bfy2iRxmq/32ker4TGI90KLJaNzFuEDokUCqbtWVi35CdDugLosNaNFLsUVJP1TmG0OX86/lCFPnaOIOzZol8dl0XtekbWiIpQmDyBSJofsh/0qvoumi7PpSMk5BY2M6M90aV7TY9Zl4ksG6YbtODP/Uk6zyHkwDhxq/U3O1I+2lfoJRQwDev1ErScAOiugiMGX2UBHcO/fFn+HHQFCzBrVY+VqC4B9t8guZBm3YzgxvaYSpyYfud4TOZMiDJlyrOPwfaBFPAnFq2Rv1KEfVK71kzGvnPaOFlZ8k/c/YYkPW0rTwBnrZU4zevfdMod4BHIRgT5Cg/xgZQZeki6Cs0qmCVjfSZAqNJRhHq53wcObPZFNjIQL/KK6VBaTYCHwoTp1mdQVnAnrWyhu3S/SASMvKngM4JHDNAbWVO+Ugiz1IUG3kmK6R93JcJ1sQZTAgQeGYqV+VO03z1Dl/kfuPxqokBw2+6K+gH3S6OX9rxlFw6sVNAP+tUL59ifGiz2j+Q9VpK2pTZ/88LN9BwCZvZIxLlziYupcYK7cZeqFriAKeJmCJWwOI2ApbMKvbbe8jy+d9UBw+0gwfK729MQoYRUrtXdDoDboUlfF7B2S4vT4gF1IYaoOEHdX5rdJnWGFHJDLQojrQoLCwGk1SZq659VUB91tPznNJYU93yRd6cq44PvWAhKtPTlhtpbEUrpH1qtL56EPW1kXhTaLfNspp2qjJb9j9/A3cg3zPF0+dSJLPSYHH1QZytgAMgb5Fzuheq2xTyru4zHQSRWcXg1I2Qyfh8W4Y8nNvOhZuMqwmRvyUCR8BE5C05MU6MbbGBJb4vASVlojJYif8mt1KtIDIE/v89y+ChCcPtZgPFkfqMxrFLebB9/viG5hvuvqBqaCApVX6Z95td+zRUqOZjiZKgI8ieOQqkfBBDbcUMMqaaVK1amAa5u/NvO1MN+YNQw5WKRTeu8j325wK+6CtTst0gXYLTxu8ZoM7HowpSOFZNdBntSx71kqR5o5PGeLaqlxQDkGOSnxKFkImNrjGn8GDjdB2MhhMDSzn9ET7Q3XyrjdWMrP9HocPodl/Vu6F9N3Uy/WaBw8/g25c1JhchIlo1iA3ih6gg4xYJS5iXyjcFLhKvhQtWMUerENJZREKd43WO7F3GiAddThjbooy00NKBwM/aw6VJs2P045oMD0LUTQrs2k8KgupiAd21sGYnvgp+004u467nyDIUdP0aeSxPbGoFUu9XKGOOYAz941y27GB5rMNIqFdXv9dtkqNQyqVoUoY7l2IXkVdl/dl73+mlqnmTfy8AmkhqRyV1xKfPigm0DKF0dIEMbPxkPC9wUGM6o+npOdRiMXlQIum+XHzqmtNvVNRJAmx4ITjw4f1fOL1vXwWJwOmJ0VTo6TtiNttp3apSl/xpPpBe/Jx1czRykvO8aiORTkg1UbP+yuTgxlifuzqjSoPVsqYbHPw3yiWD9lIlaEu+LDcKL0M8Ua8dAnPQgx+KyA4+TgAf10ejvASL7nHVteDe6alX6VZ/YlQmhyTnGbicXZq36K0OPAFd1fuMmmqFZBn9kOn9a7ixpO/oenQjMM1Vct1EhUE0KEuBsNBqapweTw4S+Qfeo5bx/bWloLYYOyOveTPtQLbULhwDzmxMquXhRijuB8nUKXAuCL+myAK1fT5ykBwvEZs57J4gXkX7iQ4quMuQxeZBCixTXd+PZcgTsC1oitZr8k+H+MCB1i/rwJ2AHwncB9cllNykq6ZyOFmM5a80HWhCpHFsy81uNtQ0o8bojcUQO1Sq+gsT8rXJyIQz2nwRw79IxUjCw75GzM/Ln2yPvTUpjgthonOJdAuB/A1S3Wl7V9MOiJRTbzTptSwijjpydJmSP/536NTRy1bibIENhJY2ip0191abhQ5xejFtnECOv1WaTUa4J7Ip6SaXzKr0/jJuKiwevHsDr+49pX7PvqeYNHPBMttKNOdH0xRfWi6/s7YX3S7FIHl2U7aMIh+f3yeM/ABdYl2FJQGsQ5UxfLqQ6agBCXvH1R6BUxPYhJgXWVK2mux6jDn7xpzcSZgzfe++yPezB2PWb5VvSPORa4okv8QbxXXaBadbE5iTMUH6TnlA7agbhgI8tT9nCZgdD4sceo5shrIYROs8RjUmt9EIcmTnEJq3EszyXs9vdqdyTZwgo8bH1H6vwREM3704I8BJObB99APkk+7wQQVf4ATTlEfP10TPgVUSRSoBYeJY5uIbnNo9Usax5IINQ7ytOZt5LdHk3wBhJT1duIz8OFKdtfwQVp1dQMMx0RArz2Skfm7MtdkA17C4ogtTHvxAsqmjClNKBt2i/FFAsaaAiK1j+taXQGGV4FG+0MxC3UM4X8YjwGvfLfRVZd52y675vaPyGjedwManJh5KjQ897rSYpaEKz0C+EkKOWX5i25o//Tujv+flnPiG3c4NzuXK2kE/T4O/co8CqiCcKdIlUS1n25B4BOkC2aRi/Ga8jA4jwXxmUCJddReZqSJp1QAKXr9iDTnkZlsFg6IEXHDUm1LzEo3PJfXni+02LIvrAa1ljUbhHzETOzSWnJT6x9CWF5/HXF8tj5/t9vfKgLCNYeBEbhgOQUYG8RmCxspzNtuy6l/X+9rX4fcTruRs0cKRUJFZhTJcS4g72fc/DA3SNc4/8uaGzKsHRM9omFGG38zLCff4W+0AB3GIqNfNlNfPtCiBw/09E3fehh76eRq43qLhHrXenz/uNyuRzrBWVQfAyCHNSyOT68sPN6Uy3tpaL1x9hcK6j3G2lM8WGPf6v7awGEj0U9mq2/V8n107SR15VINFIml6MX2VUJiJ0vyk9TSWhjveuJS0dAvgQIoxvcs2nOcJmRQYtfDjGi/EzM4UaT4erwvAIqrtBxZpBEf4E7oZyyYdA1CROt4imBM0FOrL3p38Qv0KGJDKf2s8etcPCJnrEEDNXI4+D1FBhHykZohBYIZM7y0ht67Wz62ieoFfLljhcBln4/A2cFg37KVWGmKMm42JlVq6hLvMVysSsGfZcXoKgPTUQVO6JqMrUpceKGioaHcF6kYlxvLoetDywZNhXYPeOZx7OMCGhYSt91Z+d6O/Kd9cFvGFEmNZp9rAXp2U1V0frMdBLD+lyzuz+iOt0LwcKUVdSi+S+WZsYOXVCmqe5x1Kkr/OqXaXdt5WyfHttjEVNvKHi0e5YnMxeGtXcLIRev+/8ev8XviEgb38aO26sVDJYplgRZ7Emi/LQpQK+VDuGoorvznNsInPxXc8PWSaEp2VTMmHopHWND6MK2coGfbqt6yk40FEwEyGw3pC71bVO7tA05UO6rb87qTTv75XU5Lhf5OVf57guMKb+VjDD1gveFvxvpIxLEwzYRNuSjK5+Jzt8Ppl2Bb4I+XRxqoFbEUXe5uzx0/odMJQSPoUSlCPukimCNsuxPqmYRrIJ6XgNPfOLmXlrZp+4Wz/ToypEv2jXlZs7PGnjH3izr0fLQmwANE7IPS5yFJWwOk9DlEJMi3W8fSlzPXaUqYB4s/4KMT1B2kAipBSJMLwEir/z5cA6/Yno+SXVGL4dempck/onfd1ON3thW8eburhC7WVMhGdBI01Dp4viztMnl+SctmZICkg5Lrpvo7HeDQMmeQC+SPLEpsBSqNClPnwZrgs1K4BmauI5n0hutnNXlt6ed8bPaz7JkTabUs39D16jnFvsUGbVWlgpKxAdG7rlwWicQj/4FLP+KvM/jJActlksLrOPkSvNtcBQ68BB1ZtJdO2BNdwpTJHvmhCXono2q9ObvPi0yGgZisYAFYJvtfeHjyt23QAXQCiS6ywtnyTJFPSJm+oWS0/njNEG2U5If1DfRiUg1r7MLcIuDJWXeLT1LMXcmQeXizIBTp5VFUbRHXPnQGCjeXBCtXZ3nPaEcP9zmmKK9C3PHMdl0PNRHcA31NE9MoFuzXHePXCEtB/VuLT8aYnGYc3HI+p2RPhOQKq/Q15OTqfVuZjPXI/IW6sb8wfBlUl9+NrWtGgULBD8/6WO0yZjMwGXdQ8Vb1THSKSg1b4kTG9RXgq3KYlVO+w/aMsTcNBBlW/TuEBJRY1h9xyGxHwqTnd9GIU1s3/qt+ziK2J8etkeYvbsWVVXNZYl2eeZSo/MSapXO3Z+6NWZ9fPWpPYqFWgUqw5C6XI+0PACVHTLKMbgAl3AGj0CfVwiP1Rm0FnQFF067Zlo/oF0P0Dz3QHQ0ZSvhUBNHam3j1p/x0BvCL04eXeTEnQuSU6cXw7yf4SU0P69Ty5yUf6rWh+AOizSy9WxByGjQPGx3ypo+8H7nMj9B9K9QGN3tkTi2UNwLGPiShMxok1jzcVPZL1+8g+al0Z4gKeUxJ0+L2RmbWgt73Tfz5uwEHNsmgYMzqPzo6V1zznsrkwvUhV3Y4MdVj5YrKkFO0MaGYYHHqVFlPOcfk7lWXyoG1lPlzAF59N1xGApb5alrichdi7FPjizLzTM+Y6hsML4e8TKLk00Gr4hY9cf/P1o3aWZnzpyjRY7rAHpQHL7sd5ySVdlb7uliT2j1p4dgS4oKFIwcwOYZ8JPWV7oP9miThSiK+3bwTYzkU6U6X6Tq+QEJ87RcmQ+/tJTKDUO6Rga0fzc/GWAcgzW8MH+NAlB1Rn2G3HP1kfca/CPorfXXf38Ja+bClZDT9Qi9v80ARv5k5+53qihMsL2G/rAGBzfh1SemXIJMROy541CJaDNFFJE6dV0PIq928gsJNClh4GYL94+h2Yf4IuCiYLYKfdqEET0pUdyF/NyEQx87eF0lFeWh0AiG4H1J6Y3X0UBQzb+kSOZUvYemMrrUHr4uqfWOJQjODL2MjH/KXOP3aEZyCLUTyYO4tGdkD393YbuWafbk94i1xoeWM4yiuSMeDQk5FXmIRZ5ReM6nw3UWk4Jg95yS+Cgr9V7l2htuPt7vTrHXrCnz+jkBm+ccbq8rOua0ngyvuBXAbWu26NEyZzzm2PfAcWCPqPARo+QAniY5+44im/EMpwTS4AWyeP8k+ZL4Gd398MwG7A2L2bP1ypssRGEt80MT4jtOeg6CEexLKHyupoOaPRa377SWH9OvXEDbic6aTFEprgGZRCP65Sr+zqTRiR0LZmAWHwwyLeepSh5WW/lEa/o+5I1T9mf9nRPOP00er33NGbT7uGjQoe/itdBlb6ToAI2hkIBAP/vVJaniYBIKZvzqIpVT3R8nf8KDdXrX3fsjcm1rJIPAmq1kLtR4sZYRd0L5cdW3MqEnfVXkAYbRp7cBXm1rXBc3tFUiomMoB7kF8fkXdVeOZbHXmXp5CsecAcY2BPglomx2FeaddW3qs/8kWCfx/x7gXB9DUSQyR6cM7dkYdEXowMNj2NiOgZInyYPLzYT0AXcWgTdPUreAcM3OX9h59p58eZvHEOVVKh65fwZHa87enD5mmpJfOr8uC/rxpHkeVpKw1a2tAfQObW/199bNZ0dNPCGd2xW7FZIBMNu6WHEofUJXT6djzbfWSe4gYs7X47mvFhSXJc+Bp/kktN0Ez/pxjkKdwSVCQv/mZ08fQL1UR9tt662tu8N3R5MeFLuDeBuWwbmsAQOfwl61UqrsPUhO00/NJc2o6CgKkOD3hPGHOldWpsg5HMFsNZCM9YeTy5aIgjoWR2fhmHt8l+BVZKP7iJrjCm0KgwO+hRrTuOfwqaQn99FbhUEwzmWLEnpI6Vvn0IRDo6wGoO0NcfExEn4JqYYOuPFHFDj84C+ojOvdP7CflDcmViRtWArxzX5CnQMf9Gf6Y1e1r+GRgjPH/bBC9ZpOTSlTSeBQGgoUOCLNOCT++kmz8V2tYbxqKv7UI9vnEiBm8D2jcsPhIjehw2FVW3rj9RE+5HBdFn6qkftdkQiD84zmTCgqeySBVizHGI7EinCwbcFbs/pqszduGfQQUQKmQV2ElyJWRF5p3/UJQVQItfow7DMAmfWqQe+xcEV/9TJxtnwcevYEZDqibOkatocZqySH0Pi5H5rp9BBeWm66nb3DfTJVPjobAG83lWWogmVcs+PBKp7cHCAbG8uxjbZLzkLGKgFolbEZUZ/X9TP5LmKknLsaUJSHJNzCGvOTbo09UMEb6n8bvbBEgBdevqVhZKOatHhMv8jEeKdZ7ETMyUfKRuHdEoTYHfQis2M2uJ/mimvtbj1BbqCN2mpGx09L/Gqv7U9ChHNF12EJq2S1FRC3WFYp1lDo3McHYMY6/cI31TZfiy5TI1n524X1aXAD2G6jiZ0+yM93r6l14fYMSsgWHXFElaAk8y8HJZu0lBnJJ5x5HmB35FJhVdamg+1y88hwJPunc1tIhp72VXaZt+qI4AfBM2FbCJ6ktuUmjEvSC+MsELL1OvTfOQnP6iGL9BFwS2+k0RKlT+clmmqy57SJRYLHqm2uPpN1zV/Q7/QZvnhLFR7jP63vJMYX+dsNK0Cfl0i3mc9iReULdfNlAXJgX5MdkHrHgtHCqqlXEQWXmUghkIbgUTFf6JS3UEO8T+HFEhXCrVFcAdRMBEZ+UG7HqDjEUZ7gsbPFe74fKzqGzG+uRmyvYNRuPREJcRs0ALdejuUxqLvkYRrM9++khD1w3yDJdqwYmRlQCT/mBF5lNYpj7HgRpqopmk/jmgiBZ8dTRoAERfS5HXCsbQiCx2eAYv77QTfI8zC9zPvHkpB6pioqwm355gm2+xJTCGMCDvIX/7K6AfOmW//yU3cFWa4lKr5QUe0IPGbWVWCwZMMKY8tPm3Ec7pu5S9i+ktDDWPPxdCMH0ldtuAgTEHSYywF3BMgn4cyR9rSf3QaM/0kTkuaPHJYVRFgHEIg0d09pVjKhWxIwDH2QCISidnsP2I7zCQPH/oBizqvoVrfJSjK5mdSCub36LKMksV+OkdCOv0hPJJ/Fv1j108vD2S6DigWsOxSjvbVbMPB6y+FKVc1XPne4JbNv0gDC1IlEy3hFS1QsJIXqIccZGQFkaxxl8lzULIZVqoRqccXGmnAleTRvZc5gVEwNGZ7I5paI9fW2Mi6cM6NsEHnpXqkWPsNG2P8PCcq7PmBRb1zoMRyzjau3YeSUTtJVMpR39pzHYQUuJ6XnPxF+J6FHZgnVS7GJNhozZ9/fBhRxyEep+4S863i/+zObFze3b73owblGbJgMg2YJXCamnRcWkC9BjL1VAG/2s0nULR2BfWLhMGCro9I1L7eA41zVNhVNjlZBXbyT4uotQquGShU3F97BmSNvyxi01sJYOTiT15DgIx1PuSB1pHHDerbEDyWr0WT1azxV3T5MmnAfvJrXmoXy17X80xEjOLQPZ+JfOFJtyRa/m4+f8X3WL65/KHOvKBFMibEfXtN9jNRLUesF+NhPRrO/RJWC+QEgL9JoYwfVNIBIkAsKv2lM0OaUuH09hMQfnWp6hW4TM/MMQKI9EB5VxkIpoA1/JwCns+ccpyG6htw8A8llSSBQpMEeYuQGmtJO+/pWhcmCUC+s8KfC/eldQyqGOEdKNIXke1Mr+rfQ/2s4RV+f4slSMZHsie0lQ8u9uOsv1C615oSP2AZp/sswZ2E2Xgi/leS1/CLzFkHgJbQZAKJI2zel2QzBZTGMZK3VoPaHKru9MhnaSIC2Vdhww8l9Gg24OykE2qOIvNdKVGWMhu+yciMttjeth1hIhVRZf859CWc7sDkulO8KKhNuRHarK4WJyapz2dMhqQC8vCkFnQG+LG8Wzj2bwWXmXOCZIJFkYVRgVh9OhG1DWPk95Cow=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a/oXf5nEOUIpDbBiyeHXG3NIe66w3U5cVmZvndBpxemSNdkLNlhMoK+StKr1IBqmsL+dfvNxWanVV2AoeEpLX1TrNmhCcJQCwPA51TfZs06vVqU+Voq06+p93y/rUAdabHmnwW7/81jTdP0gPOxBANorAdse9xh+3I60XJqvlVh3chXNYZWw3NzIaGjPjv5o6Ci8gv1FYPddjazmPUyk4vP51fvHK9H6KjO3oL76mR09u7XzYeVbKBsg3x4l5t8G6v0iaEUyUlxGTNlMRApYWV2Hi313bQv2564sb8mNhnL+4VTJcziQ1DJwolstA94U7uhvdhOke/zorMuPpES3/OlyrCvP56WLC6IgbSvZ1q5mezMJoyB2fysITP2yj43TuaF3RQhqJr44EJmi8IcJA+RzxgVVdsrjwQqrdlhdSN8AK1BWloA7khpidAyyPe7bblbmRmT3kuA1PVot/qaFrlJ5IVx1mzeCvQOqEW0Si8HrUduOxqO8Cl8LKZ0unzLTvDndhwqu3ui9I9CwqvrLOl7sZeNO2hBwKTDU7Tm9kUL1tiHVVavfCdyaPtfvi+7z2UZtoZu7Vfr7xds4+DLXwLJJofTwKemlT/qai2WT8/c3NQY7QlznlqPUlGAN7ac30piEAiiDERmXNGxyjO3aT8cG4Z8A90c97OfXDPYGh1gDPxqOs6/xvB7tGUkdoYMHKizW3C0JyKrRu4pWQ+aTa9dyXtzFB+vuY2bysGDEgh7GXsISmgFCzfgoaLPnqd0HK31eOPJ8xCl1nMyUUkQe0CBzWYdlRH3rYJflOyWtKYC7ltkJjLDY5G0xfZvEYZl5JU0uGBFk6AGckgySecPJ9D7o2dBkbuGJxBNok6vt1XbnbZ70mbIbGfAegZVXY9Jsaua7QfKSbgTiNxo62Pc71TIJ4QmVPFtD8im49fPNg6HdutHpNBY2yNAXIm8XEF+HdyhRKT3E86jOzmXZ3EE6OLseowzARMOlZ1sU/U5oyxfKtUSAL9qWo/w6E88t5GMYRo316y8umSjO6Fp7YERCV8DXu83Cp8mGXVXmnI3yXoHnXgPrEzRTQk1vS4LoNefsa2AHpmX5odiZtDG4B4lHlIP1HOvcPlTvSQ/v7JEbeu+ZebPZlyACh2cLDNhWNZqclEpbWjv+t1HCoVM7wX7PEI7ykHNuxvfMx7O9Yj51xrz//zPFrUTadO15DxYJLEWiIFj+jtQH5gI/d3be2ZGfhqq5wFMA9cWUP8qfHvpP4knpDgJumdE9SYneJkunM90DOUIgKJZl1JzBvLnt7uiji1pcSMCGc30YxMda2PRmduqTKt5By4EJEmofvXiSGsr5OUNhpmSV5/2NTqAT2AFyLqzbCJqzG/Ba0TjxInPCvaIXwm3YJimyu70SmVpvIzzhmMVNUXCQwAGTpfeDZHQ2chfzS47ycrTqOrSs3fX1+6BwtNSO7WvI33UeHj6VhMlE8fGHna/RdC+9hFU+2WjeWpVswWzNqlJKf0nrjDqH9i6tDWFUxaEoogByu+8npW3FCTcoo9wTCGqMI7my29PoCAXUUE2klWY7spj3nroUec6MMguE3LKXLo4g958Hx7/Nbsk4vB/HOWSw4wbHYm3njQrEOcC9WGH1A0gnGU1p0ii+g2chm6mXQ2GuuWdXj+juK9bmSWEgxvEhKz6J+l6qU5th/w2k8VZO4MnGXIgtbTi+8Hq3gmgwD0jkx/eAalE7qiVRYvtsWA72jRanblvxCTCz/FAjJAvAQI6Y5eWCIyR8K+8Qb/hJjilahKg6cgMyDgoBQULN7Omjt8Ib+IzWb9wN5WKBqzVWgL5gc0QZOGIaOMFlrh0imedMws+hQ7NBUyC7V2A3YO36Ei6nTbRWwMAEXE0W9ZIKb+ti+dLBvRn5J6wsRKkHYrdJ4d27kH+meHhIQAogk3jrDs8jAGS6mfgYpXK9ocqN8lGpAKe+vHkZxT5LDZR1Ejmw85u6QqZMEmSYAj6GuFTlG40h9wRulhfOsSsJMHjiwDyJ5AzR6TVqzjZS4/zw2/DQvZdFI3GS2XI4QUggO4pecTZpvI5kOlpIUjcEVgFED3OYzFmYQ5r72VRu3k4wnlmJnDS52iF4a55/+nszCaJhjFjElmn6jN1JU/ul9IouSeQlvO9gV8k3SuwDiLd/4yd2DEgzfGlSwPUz5VAlhrDoeA/RZLKeOOYECFSAvxJo/K9Hu3BXVoyubfsJzG4kyaY+S+/FxSF42ne5Wr5CKqeQXSvGpzYbBGRMioNcRyQuMD4YVZvtjDE3mBwt6ltbOoywPz7va+smAlwNvdx2aHEL6DY5Xpm1CZkTKLKbtHXdxRXTG9kDr/okJv1bdhY78H80Onp0GZ/oK/LCExgLtC6lijvSNC/X2l42/KYU+CpMfY5krGLrvq/YDQa0fZi7c2wp53d0dzIPDmZvzzmeJgMtfs2rStYIhFU4mAggA2b12zW1Ji8F+q6n7kPrjHYCq07QWGL1MFxoWOdSklDtWvZtEhnzqFo5v+AVaR0E3JDb6yzbj+aJ8ILyO/w0v21MWHus4ukkF+mwPjRcSA7E8THgYM5RnHTBUsMToY6adUDTnHZXVDiSE5wAQOpY/RhAIps4fn9yOwqP1w0rSQ+UwOeQ/REh+FAPiYd3o0zfV1PR6bdllTPA9UiZ9sodf+TzR56PGYsWCwUaH2uvzS+ITUFrJ2QiHUc2Nj+l9g8GCMEtiyjgJdtbNAZOZIRlfM+uHJQ1sSvy+HI2sen8GyMRodpvC6r+fZwPCNhZTxyeZSBlLKcoXzBv7O3D+o/WBooA/cC3IaX/fV8sWRnRXaqB5YoGgsYkraFj6trzoqmhBYZsVHFB3pg+U4JSGg904oKaaJKU2HVi7LEfcS+MmjEdvj8xmvMzVMWMyzxSizTOEUVFDW6Uvhoyx4NifGLIcBvP1zWv4XimblEOwTpZiti6xv5NdrOvjcHC6ko5MamHgasj7ltlhS9+eDc3Yv7UDn8M/1KqAv7QqxvZqVlhlMwHl2xgN95MD6Hmv3kEHrVeNYD/ba7gxdaV+ny7GtKdYmuphFEc6hKZbFSPSw3p9TM4FVAnwtXODl8p3f6XIKI62oGeGXO/e8JbKtaMO3mhe5kjOZjmczJxl+o2OV0dk2h9KyBo/6sckAIX72UoRLeOsPrkjUPHRu/l1Xac1gcakcGwuQDslD+2ryzkKBgN8K5edb7RcQH2L07GOBBpx19wrHEwzj39mRWbZIWznVKmmk7l7xGLhZNuDrKk21ayS0Ly8AVJlUF8CJmrslUrgdFqeDSamFq8yhJXLb8r9SWEbekAmMBxEAd525IKUOL8QYsR7K0+X9Z6vRbswp2RHuWtM3pqaTX0IHH5jFii2FqqqZSQmaozHOD9JnN+9gBDQHcrSmUYDKJACGJ2lsMVd3xfD8W7nYwb8SouDLB+YxZpcGe32bgGKaEAPFhDjoOZrqr6bsbruHi1UHMXzwuAlp40MHbuRBh+CgbSzcL5Yy8z6TXdGWF2CXdBjuo4tJWmp1oVOdMevHJGxZiglSp8ehWRdBagglZDAcvUF+XR1M4yvqBcsCiDq0jZ8Kd9iyZDaN5+qBrG4nZX1fZ6BZGWe0x1oLAzh5bJf1id5xF0kEUepIdJlOm46SvJCZ60sPenRuJ35Di7BPGwiCo44ilETJ7A3mYAa+P5UKv8rfedRSLEYsSVNvX/e9wvGI34kvu9/CTYbtZrixmifohCS0yasxJNm2c/tVsDc7vEm2SBVZC6zematwwjJajy23um3yE6Bcyo/IOYk/di+56pXERBbGEJLMX2zu2dV6yXLjv0rbzWk//+Gve9OWSlrISNrmnqmiSOwfppBkGKXMaKRLKbEe46B9lTGcT9jr2cg/jzG2UEId2fm0oUvVmMsa2JltO/zhc4AlueH9RsSf1gTxK8acGbJ8SKXBMyuM8wEaNmNxhWGrSq5A6bVmS+R+z3EAHiV2NrlZHItBU97cGQQf3mAJaybpTUZBrMz1G49JuUE77mQrKCOXYHBSGKdyoHb8tiOFCb8r+YCtKv9bz4m6sbUepwO1k8gMZgacRE8paQZw7zYVLp5BPXsx9y1r6jGif2+AL1um6MX1b6x3fkdoJFvWLhuvBOVGNwK2iHNj2jMhogcnGU4ipARPNp3/H/RwJQ7NvBzULXD7FuWvYk0Dr7FmbKXKEgFgjnF1TJLII3y6gN7Wk4Z6rj01At3+5aB8oknYaR45n5MvnRutObQap7cHJPBRzusp0RBZT0q9KeuSETwDgsmroR+i630yuZiZM36yEnfimSedDLAyFQT0354bg3eVoxV82O7gMgQb0OjD02Bd4bYZswVRv/5g1hERbndoZ55VLWRASYyHZRo33mROrAuV7D5s1AZ3XKJE/Hw8xW51ZG6uMUTePkO/XMevcd2cT0YY8tQr85sdOBKbVAM2dp1RjW4rJBg21z1Rx3MGeWFnPt6TJfFgk6bxI6k6ci2fvDYK6RqyIgGWSkyQt5AojFQA2WE7qk371np18GDnbQrNPp4hwYqK2jctuUCCY3UEs4GWojONtrkWX3oI7d71wFdBptRZY76fTnRugULw9DJLXlgjSm4OF4PWQULP/0JHU6zDKr6HQGIr1Y35QtK+WIIaiAnUH80KOg8rchvSgYuwg48L/YAIlryNQNEII21bETXLs7ezoM+NBTS3ImS3+qfcaMnLtIJTdr+hvFObRK/hIQ0dz7LuIfWlk2LJCTUThWnzUa+nSbibB6RIklCQTRZQ4TCvF0wMw1IebwIV9RBVqLgB/nX47SveGSFF3GMAY3/F0rKZ9u/iB+FJ2sQeIHfNc+CmM9vKbHpr0+pyNfNlG8WzW+Gb2jRNsXG+xEaqhiUFyNhUFQax8XCHYJgpGCV/sEJ8eugY76+cPt0oWfn5CncdTIRXe/ASfHAN8nfxTvr1ilzZfGEUA3DEU24JmLVlUnXWfAGwfMYSdu9+j6+uRy9hxROJlyLoOqeiCeX/xG5GIVBKK8RyhV7lvBUoDus++1cL6V2VWKZFr0RKuUo1rGCVF5DVtH8Ybj50iwEcl0EdYU3xhFAgbvW2aXl4SFA7ojrsm1ANzcfpv9ByuEuOUmHyd4msEgL5yH2EtGRfGNjAH9F2XQSftIPn/R/VprmAXtKMFtArNkQKTnrFFNumH8kMjdMHWC4pOdWiEAMoRlQIYv6h0tV+eoIS2s8Kwvkw112DZS1fIqL7f2vFwRJwVQwu1Xdak95k11j8AaIQ+MWeu5bKoVmmgZckjONz9HvYXfW8qpemLK3UUuNNlJfMSLbilUTAjMf+fXrrPmWzB80joWDuxbosAoEpLNafMOD/zREAo9jLW/P9bAbjRZ8TWtUYJeH7Rddk9UXhP3WUKe0UiOnn8RB8FaFOFmohxLdFKVLaYDWFVIuFcAF2AwCVMc31b6sdIoUJXxJAHO44svHme5m5SEkNwODSe7fi3Jdiap2ndDJoU8pf+sHLbRdovfO7az0C0eRbi+Kx2iWWXFPdoTKhP81A/Vwwt5EZO3Uf/BJM51Zsu0v9TYeoaDVmpf23ZM5SZPCeQJgYK6EzgBDxlUfN7c1KD6vcJTHsYh8SiO/THbyQElOGApqGNyWcVvwbKrufTe+U/eBtXE1PxfMEb3rog0MgPWFEVm0MrRtKrvDpHhGQqufrkoqvIZRzXWRNaIRU8mO9JtPyEIgbzZTGedL/hfHgWqjnpaiNJg9JNxJQ8+k9pVMFonVdPnpVxUaMBSXMpMWe+AmQCGQf6DYU2dJqSh3L3JrnG/I+XW77z8OlELh+YQqKnjf+Nn6LePlGnJTb5zRD/Ul8N5YdxM/zAvqYUfJFGlEOtKQiFHemqFWzSNHYcOEP6yoqO+ZF1sgj30bZWmdg8a6Lh/QXCYL/uAEmrNr2somdMLQcj0uo9EF5bkyAScSgVAX+Sl+eEGeBtVrzkEtJl8T4LkJLnHRr53/SBrOIwHP7wS1mK30x+Cu0ayLl9HwJiNEl7InElPqTzodxVvfeBTbe8lv3y3RKeQILRly2iyhAYtabvl03j5LCBQ23qdUKfBJ2RC71iot+aDUA/eVOCQ2U+Jg+YWye18mBDkh9OlZOOCq5Q3/rQClqLLg47p7euLi1eWBnWv5buUKtfq8+TIWoZwbNj1jh53EJc9me537d1i41IZyLbDpG5oBNgsFPHUgy7Ht0+kSLo5vSTtv1pLqHlvLG9sHTUnmnJWzomyxuh+YS5Ov2Ibm8Grj7pEBjJyTPytcgw0KkuiHs2U74hb/dzeC9LlWvViM7qmPrWv4ZQVseUzw9pbs0SppyOpiRyJ/YC/+NMxalbKaxp0b9h93dInAzq9hbZNgb7Uv8+5llUFdZHHV6NZwfBuYiKwRWCQLX2uqckqgemOKSDeWtOcs0hZft5HKtatN6Q+Ufl3cr27+80DJoolcb6/I3Y9Rr3+qZ1lsrDysdIDKVqHZgW4NTW5MH4KvTGwl3bv05BjlwJWy9flM3HYlPjG0WeSnClk+B7/ZFp/PBEYza3pDhyxvvFgWudFdvjV3Wps7Dcv8cPc4wPRTmV057ssFfBr+0mg2fMpQm72qahixldVFWBznBNdUzlhYd82Cza6DhxlUl4gDnvdpBT8ehHNOV8bAVnKR/05gZK/dWF8cV4WkjtbQpYBT93ZrSIDpr80SdjvC5JiKQWv3z2Z7vSAnoXz02PARbyGqji6erpLBrJlRwkrjIeeqZnRqFJnkk22QTmOwNDcqPXgu3ij3s99CXF5vTuSQY+GTt7ookBbVM+JNGUqG2wHPn6rqpSdY4Ijoql+xNJzNYDE09e6yLsmfx70KYGPxhZdqv9cohWwXGwGhEZWeHdHhWFxnfL13e52Gz5KAOkyjCWYRCcU4dhEFxAMkHtfwdUpJQXlQs7SyC2U547WWfSAZCMiZ3YmflrX2Py8QySbBNiPqVvtn42bFaup+ULCsag9T16HAwpZnmBoMcc3mI9PqiUcpiUDBzi7TtnjFcAUNhBeUimYSQyjY/06VKIyihmIyCMD3Bg3RHs1juOsbTO2X8hQbLuMyg53ik9iWxOfy7IxP2GxAdQhfxr+QTGmGR1I0v3c/DaZCTthY3IzwurnrRcYDGknndq13dgb+vsoHRNBLW8Bzq1LAxMABylFTp5GE+FMg+oQ5m2hHOvkkmsvTwggjjfGMx4ro95h0R8pvbdF+cHPkWs2mWxSRpqz9k0a+/dujqPSGschyBg5I/ozezwu2eZ5jmyGzoOkzpGIU1iVeq2m6Ee7WTZf0rx5fwHWrP+S3AI97hI+3rgAkDy2Z7vhG5p+bTJ0y5wwvzxaONjaJ98hsQm2jkWLTHyit9MNwkupZhvbADwaiKbrYYrp1fkUw5qhvwWsTHIguDU7xUBJ+9gygLuGkbSW3Z1FjLCDzTJdyczAj9W07ET6h92UenHoyuBHl6PWNLJhN9KwwtzVSxnIxKeIYPWmMe9timUr5k8y6W27wGXKKr5gdju3ncvwn0KGpxtUHJ627Eaakst9qIwhFSXaLl3NvI+9Zak3RfN6Q/hbK3cOqHtpc/ktxP+ukukDt9+OYNSOUpFcm4XLU301Brhj+8AAmySAsTULXJMm/jIQIYx4FJrqZtV6bVDUFCp9tagQxjavbQTUKoq9Vsyka30oBS8fn9EDZVN8JNSTcTu04alzFTDR6CMr440jfVefEodgevmb5B5U4uvh+JepQpC/ncmFEvK72U7zHClpu6czbMtq6rq2wDYpmklmUdktjCLrA7z84ae5UTPLi+gqoEJXiLurFOhspVoIi81G7Kchovni96Q3jM4RyJYWkaBorl8M1ysUqhNdAKwQ4rWZrn8JoWV/Nffv2mErNVp+5oLwcYCcBEYMJjRGyFe42QcvL8bNVB5AD9TtbexAmk+sqakguIHZ1rdEWFwqblhMcspuzDJNE3am1AjwZARRlxxViID+E2StWKt00ntLsUknFlXRtLzHFyWjDvq9ziTNaJPAggeTBN2v9EuBK0/0Do/HsP0pwhNUg5bndZhX0EzbagRlQUfewM44gtepKF/UmdoUImaJRFiBwyeQweYzv5f7qCG+1ttz2Rpi5fHq75mYHLUsWAgAnB0M00PLbgpIcvj6wEwAhrYFxzxO3/xtMzczWuQKMUR1dviGxQhZZFMhKwMHQqdSd/R0soXpYVSOxH5epiyevzl18Thtm1hO0KiPJEeakSMZoimtTenC1pA4Zwep+pIQ+XkxvPjaitgUnudfb/fcxcHOUXJX8k8LfmL0IYC1QkQ+J42dlOKEu3gJlu48RuSq/FzvNWDwuYgpA/N8MIfMQPNFyPR14FMnHfj7h3SvyEEuiSFFBYIF38ujSGnYfyja2NaJ+LEho5w1acJWOj47hXqLThQAwcUX8z0ErvmsOjvDEnFwe2pDvXt3hkPDZB0Hubj7MZ+e4jolgg/P7BkjDoL/zKp5eFXn/ZsPNLOeSwyndMbnDU8oNls0PeYcu7EUaTmFezoKD0FPVQZymIVJjpaeg+5oCshP7/+oz9ifhFiL+lbW5G+QdwwtRyR3/n8Yyf5B2yeWCAAr+zSEwvmXeAHW83KWwEQEaTK67Mv13L856l+cIV9VRkLYwleKWQG2pDfD2oJm3vR9y31Mw1DtkkwC64WhWNQz7ztMW6Z57b2WgA/38Hc4fkUMLZHQDdJRfb4pNebRShIzmflm4G1BeTGuIPdMFXTW7tyDJ+s2X6F6Erps1OLY9odwn4k5ZWArBa4yHSZamn8PlP+xxTEqKkKK8AxKb0vvNj1pxfP8qOnA8QGiBCTWL1YLknzuDMhp2cQHsZHPYeRcCLeIpNXcnjzjBEZoZWjX86jMj1sa1kSb5mKEIjChP3huif4fyhQKwCfn6zW4fOr93aFdwNJTIpnUWJWlOQiBR0s/fH2EtRXoeiynCZ+5gYWHDDFEjTMaVvekFaBLSEuKUGfLTJFZa1TM3VSFsqvLK+lbdzdP+F2wwulen9K7v9wCys4a5WTgdBFvnxA6Z+RQI/g2HLZfhL63fY5lH6vGeiyfCje/KPt2eBKiHSTXuqnEmFSHisb6xmK5Jw57XEOslb6dfu+7azXyNhcPVmPz8BSbe5rWcCUvYVZQv8t5RwLSYx8MVVSxrqi9dhAYanB6fQRVZ/puhJuSsBbpLV8cTzWMeKin9IxW+J4Nb2ssLRN8QOdsBAmT8oWwvz3W52sy0h5EJN2yaES4dYX6bUE2zejUUuU7Mb+nOmpxvnlCyTLFR+X7Qp0q9ltFsr454xkJBEyi84rYWAWHS/Wklzq5COSYVY8UHnUWIGRFAsq3J1oeZxpc1I7qbIGJx61Z2kYwUT/Cogyo7qGDDsTnzuGf1ZgBTYP2tHkz+d94BfCeHdL6tmRlMeo9ld4PLDO9r10WLF3W1DzOcmkeqA4Sev26f1xLlPsLdfJbjxG27O16ey0U2EBZMs51kqCBg1yHcGpc9qdAuusuu14FEonDU34KEyglVtv7qc6urGqnZ+O46WM59w8ljguKuzVeOGu+zfSVx4p9QF2ulN4d8EiR48qfPEWNsU47GdDVqLcndPT/ZHSGIOYrz0lV1SjSD+55/MeyDfWFBQIZE5uEy1+kJgKCofi6aAJjgoMdxN45f0D4rF6d1hoNvFK7GyWYsHS0tXFta75m0WVAHwuDb+AEhRIMg6e89YVRGQxD6gg6WaDOzjbSqOpgpUm6UIKdwhjsGkc5UADZEHX1nuEOsreapPgzw3aEpF7qSW1OYCMKOB2fHAr1NKehtc73YI1mHjfbbVSCqbtG9pU738pSTl+SnH3SMBP+MCb9RHZ5YRMllYpcfN62kGZfxIvQlQUEnPNEOReM/krYk15s4uPuVGAaFa1qBgybGszfXV06Ng5ygqiWhWQyVSsvbs+eFZd8bY3xalrji+0KBhTUjDi0lW+BzCFL9UvqfbDq7LCL+IxDeL4hAZPMsyKjZYpwyNHpLh94lom97r3AMlevvNB2P20VFQuD5N8ssWBiEZKDSGbIGvvnXr4kWFyUXN82xvTAyc/rYj/7d3MgLgc696mr97KkGJJq3DJeT3LrhH2SBMx1m9vAI6Po1T0HpWDU6N/IMlctJHPpX/mWIzHLPuOH7EVeJsr+V7MNCO8vouXTd+kMBNODKKq4q6auV8cgxCX23ueAc1dhXKr3Pe7X3/H9G+GnhLb+qxKMC0/LQ61pYXT0WHoheYJR3JOEXVkna/JU3n1id+yylnrwY2t8TGnjvLeeJnxBjdayYp6WdShhTProyKgaHNT4rHaukQu2c/MOLIIrUVJgrPOrl3LFRZgiXA8GysUnHQlXjCDEYocHZqEAxRU4aGtBQ/VleCkzk0PJyry9PW5yfIgnGazNLIoHuQcN3lfZp9iQY82mPd9nbvWgZELH1U1mOmP5RaXR20/hBaqgUHRAvGxTUY+Ojps2GJOYFUVvd+MxL3N8cpyp/og2RchB1DXWxBFIwBQJrq+RassugyTNdWtfomIE359ferhVT+DTT3pty6P1I1OGnLEE/YuqCv+jPPQfWkq97O4cI22yjl3wSzlrdOnZp86MOIGCpYCAlsmsxp13vhgNE1eubflySqs/j0n1p1bo20DoSPhT+L+uUE4c6bx0greGfPPzZVKQW3r3r2CUKazmGoyw6AViSb0ylMXYmi4DvjdU6UFz/lhih/WkhVtkUEiAFWFqXMRUjSjDzLEVDsmps5j2/HN9e/1ClQTw8Rmok/ejL56Sz6xKjZdFEtdlOG89G4zb68JxXgLbRDZd7rv3irVOynsmETzmUyaA2woo6lIEtO2LNMXMl8HQnHlhpVnaA8s6yRld5tmRle553ziPvKJFy9PB33J5PqIvXgj3gwaCvmXFtr/pTgYCuMtf59BAVLR6e/tvP2u5qM4d/tVm4sMmWl6fDQZmTmoAZ3cbUX38iRGkt/Y+gG16mkxVUhGYgjUr8OD8Nl6RDeFb6wH9q3/7CoNicBpdcRaGfFP7tIN6zTjoIaWXu1IdDvONL/zdTmbrlSvgFcURVeRqqKqr8GG5Mp5y1LlMrnc1WjakLHcI1PxgQf0W3wrgx24Yzi5ED9p84EXUIza7Hz1yNfgd7Lsyk79oxbFKdSTZ4wQqzp4xSS8zWQGa2pI1mXSlxgGr+h0lARDOGCsal9UsmXI+yQPH27hG8SGwiKPm5gQcVd9c+yGY0k3TwYa+9fv4eI/AkXzvOUQ+/+j3h0dg4dzzfE6geGhtYuOVGw1j60QSTkRxyg+7j20tMP13h6ZiixfZX4yRCQaLfX3YzvW2Ofw7V8xxMcga3XxJUTX8btm45DvCNvJqvm0CUWWGAeIRDd2Nf9IgNh/+m6GE1TP+vG6sft1jHQskCh2MCyRwDE5G9nrOSZ2jpVQ+Jzf0iItXTt7hMg2fY76euTs9TrKFgSojrVhETmK1jd4UeAdJUhWe1RSQ9jQlsnU2fY9c0XxFXC9zP0DTbVuNXNCP0l3vCatdP11+GTZ3+7OrJ1v3UcYAHDmuVrTx3UQgFljzsCf0Y3k5bsFvmos3DzmTmwhR/8yA9lcnmbtPMtG+DXE6JtIT+SMQvMDcSZlQYeNS6IsDUbJLKA7+vUb2pFptb5vbLMIZ2+sP9oUNiLLWjoCu/nwFr7+AuPJU/AMWAbroVbpimpDlMVAz5b/gQ88sxtTvm6jzyYQXwMedRVNmQmqkWoO1yjM/Hg1w3NS2GNfim1UKM+EcbM/hoUJfoL757wpS2f5FW7hS1Nr49GkkzGCot/GmNPiKcrBDgrY9uAx4DPla7JmuB7ZXDZN3BN5RGvdli/3Kn3GLFJS/0DDTLVU+wXWJpLxaG49hayaolvowWnLZLi8GIB8WET0GBzZ8I9bzCopl3rBwsiBAJSa69e2A/Lu50M7nn/nmefKujaYmmQYj8MCopYCGEPjyMIw5ykg66fF9gT8zVKE0i5klFvs6oJ6mLiSguwVQx6uJggcp1zpnEYb87sgn48nCc/xT4bd/leuPvXT71xK9PRim5EPRjikBh+Pz7Mi8dzk9raq6uZWrtLEF0qL1V/wjCIrPt+b3B1ery4iTdPgRUp1wiidJD1M2rRWT+9EU3aOWwYtfBy3MBB2eXIt8KGulGkGZit9gatjwJYVDjvorbAG7CeGZ/mJmipTQKU71oSfQ7Q29R/vmVSiKxXBtxUdousFtTFfmg9dy7lNsJLLTKDlwsCRIfe5l9JIiaDktuj730FK9v97QVCd6B2VsdSAHfMZu7jTmbCMxbuubRnZBcVqq3254dEud4JonXU/Mi5uWMQzpioE9ZOr9+SDYWrVqhbvxifX+xRmqSXxwdoc5RI0F1PjYd6trQaQDvBFMfGcZ/Yr3T7onzooEWtPdPQSQKi7+Db6aHhBhx5GY3rextEMVKOyhsMi8AZZ/uiL6EG0MlXeVkHg55PeNiyyrvH5xH5O6XsZDz1/TYQrjwk+NXbqvN9jiVhIFLLc9zxHh0mNKxaqyzzPJDMgY4Styl5My6yUaCl3K61VMdM3CdumJ6oPVitbCm1arbBC4nfj5N6ZYo7H3JKJgTHW3/FWeNwalL1s+nU7saTbJZ9fAIDsIKV1JuquVlFb6v1Ylhpgxp14YGzz+Go4P42Wm4bvIurSLN6MY0HKu1VR6fjz4CSzO3ZdsN94JoADc+tYKxwjL/DN9ZhecQDIRo21K2tBxq1G2F+EZem1+nrxk2lz5muyJDh6sipq7wCU1pab2+V3/3g35Nf1siuBwaePbf8RoQZXV6U1UdXFmiXNJIA0D4Dvt0oImiGQSJ92P6YcqWJ+o82DDSugjTtIugc8dld7GCt3rdcbFOJK6UcIW8jL9ZcO962mc0MFcaZC2iPaVJkurRe3u4LZSS5AX4j2yl7j9h7SgdSFwyeayhwKEwjdTlPlcnTlqAlj2DKgbd9cSGkhkDbJXPMBet4nhlAPuGfEFCP6qmcODJ3mg9KYnlZlq9jjsXqN+KOInckaQ4o9jf1N3NWfaaKrZ+FM1RTIbAA+YW2eA9hh5vTr2lLudLoY2LiKlbs5Wi6nctfWvD5A6TeqiQ1/cV+ANsZ6/owY3udV30Phsk39LjXvTsbfG1y+Wld8FAPyy1Q4lp528GP8O1OdJAqTvYblEhgQaLjlhj6yfy/nJ0X0vc9QWyjMQJLY5sxBieFwuDWFZILyzsgRbhvA6D9tvGHESL/4O2mLLIc3Z3ZZ4r/lv7BHOjcc6GGUjTx7fpH67eJPGMh6bDnzLbG2Sgo/witSdcOY7SbZSqG+hRsidTHM2u9By9XRTw0n61WQShJ+RJcKRVWjD/htIba2xyK+W+wgIWjhiDqzLTg82K9LjVL63fL7KcNxJ30qY9YTWs9hktWyed1M3Jl7WPLviNJVbSZysAfQR5UEd7k/GamA2BwENAA0o3BxKzAL2iLRnAJBb9iOqn4ipLqpUkDRptyn2QE7Zzs8Pw3ds8Sbyv6OBDmNTWrmVQunLISGEp3Kyx49pcNcrBnvV4Z2m0iBsEAxJq3w2tKGvWcKwVTRTGxlmAS9Gj/q+HDrU+7ZIB/3iXiDd7kQhhKVkVGEuEfpnVExRqd4LWKIFyDLn83fTYmC9V56dMYDHXX7I8Kjb7VRXJwD2Ak95Fa+CZEynwjLXX2OloxSTDFMO7mtsxQCyQvn0EfuNvcOcpbDqD9lEKTTpRaJyM2MkaOiMxZXhhpcIlbS+R4aUv5XAMzbDEu1qKRXKfFMKa33mmJ6kGr4C43qGY6AMjmUgNO9dH5aYFoYWNCivfPNYi0qCtC57EIdkMA+sJb96jQyFItYvIA2u/2pri8ZI+LlK5cDH9fMFUAm8rn3SqTDvZunic3I3xKaO57u1A5qxkefC0F5MuGgZfhVe33qrQ81r9GksrSFV5TKTAc9s/9h9WuACzzE8XfRAb/WmOgAxmj/x8LtBynJPnFjfM+fkw4JnIt+s7M7rxD/gYQxGyTL8r/hn3cv1WX6Rhy42nxlglsc5whjhOvhLGHy/cAe/ShLhua2HygfrAjNJPuUqeXGi/C1nFkr5TG5sraqmE94ibe6YxECfK07BXySYy+Clqdr3MPk1I0lxILwvaVFc5O3mwe5InOvQQ+cbamz+AOU5Vh4fdIv3gpryBZXU2gUPILSgf+VP1INHeS1kKOb+Zl0ha+Bc+Vm1DXt0EMRB7xsmSmLZNKJLKGg0FHDm0vu9lAoQchZ8XvcoikO+e1G1JZyfa4WjhNaluVac30VNwLbA3zuEp4yxMVgyrTfL4hAint3/IvswQiVZwVx86/ipriKmtH1HfiDjAz6Oc4b7ijApE52HQASse9rpwDOBauauFSyPdaH1mD/Lsz4HatKmp0PyWG0KG/r36Gh3+x62U9UX3b/tJCWvNCFyNTr2TnlbaKPX1iMe2pL4QjrlyapWz79iTuyAo8EDu2c3wO6ar18WZwpuPya3FIndP8vZ4Ph2Ij12mDVZLj+L95ygIfW16+EmXSbSwG/Aiq6VlEkgzGEiVM71AonmQRclJu+FKd/BYBGfomadsJjfzXQVLcL/VaoErvDRAzLF+qv3Ubf5tWYjmRFiohKvKyfkmT8Nhx+mePbLIAw1Sso9Zqh+0xvQXSLDAYmSblo+3lCHQQmANTUBkdwCqqe5AH5wPS4TGT79pOrIWE57IaXrbjOVOYlrcXWxtFZXGeAUCKOO12eKbUrN7vKs6pYX/abJs3FY1v5WRW5JI66pErl1scAvuqAA6+Dv+vA/gXqjVPMnH3tEzesQRrOzBaCG7hE/iKOYOOKpciGDlu4GT9LBFIxqtoxRAs6iaYxWL3SSbToUc285C8krkPkfuza7ix6injPGE2mxT1NB3myaYLc4Hx9zDuttXWX9r2Y9BAg6Qjs2d63MDxluTuhvKGmQ4Aw+b3uEsGaB0chZBctKBYZsgqyT5gvokK7l3CgNlKCm6lOnhaqm7LJmSG0MMSp4tWlvfl+oA4+aa/qrQOjszgnQVDqz5TTvC8U71KmK5dcpbeUVq2ZzQVqaMW50HrsNnc3tkx1UfWJbs0TkBejfk5KEZ41Ror59SikUP7I1CE/SQM70C7Hd0t59MfmkirSKhxBUy6of2oqaVxvmOZtXaQxOJuYaX1yDi4xednGzjpuH3s3iXqbVgISn9qP7O3zMNg7BF6kMehRqYSv3PjOBtWw9+MzutDwrZ3JEFpL+wpHo+xstmLncPChNJt+ZdpHGQyNTMyyXjPQnO2q68TFa450Vyy69FUkErmA+OiDtUcoPM9REhilI47n5ec7uzDaJTUC/uAQmuLobdsvVwGJbLucQ3we948xkYgccBUAhCrGKkYH5bjXQbybRQ8ZbCY8C2JpMoVDWcVuWR3Bjl035RnhgmXm9uQAVbtopJr2RtpNFEkUwjBp6oZkhqjWbYL3vmSME/NUU/82LhvRFwLgu/rgqzS62jjq/JheVc1arNGsyTRTCR1D92XklsgIC/JyjsVfdmK176an5Y+nDCWOjap+iyvZMRbIIrw18Bie1jPXcHyGvH4ftaMGAuXh5c4TppKzUGkTr2PI/HuAvY4tXEu2Nd6M2H7gVo98bhXU3bSdBZTuL53JuKYPWme6MCzH0fcDePrDooIW7AqSxjomYjL0zFCWspmgnZCtNKjSOoErSirBetvO8P/g0Im8PMXFR2liMThWIM1v8+DpuJ4WYEKWpHuk62+O48Bzncji9UJxaCq85lVl01ktokd7q8ttK8dzru3lPtrGYuYm2bBknrvZ/h8pF4hLo8Yr89JnAlC7MY/xRUp+4CgclwGZ+vZznu6bdxgMm5KOSLGtL6nCJsBhbXVy4ckRz6kCMv4mY3eWc68CNlwFIIP81HTOWNrvzxzZPr41vx0J8wh75YntK+dxeVoqhGtWIvjJJOmbjDxd2wdQJbEiuMBKml5vu/EiefryWkh8GLXTuzu3BNBVFVutw4xGulbzoM/WN9zPB1zIRM8E1JZFx47kcFhnxzRMGSBs6KIdIne0UTbqKV8pwvHwRUItPXT8+eAr5/nCWRbGMUIo84EdTQPtzhDMAaXJsGf4GiuuFqYJ1YTca+YEPxN5h0JDLV8yuYsJSAeL604j6ZDGVZ0U72tYgaBBPQv1I4Vc9SZvqj4HypLDsRI/ttMur/IIykjTpgzWvso4Ad+aK6+o3Qu069YZE598Tqg5/MqHrWpsTQd6VTdE07GFV/U1frWPQwpUiN06979P0PlzBmlza32Ql07bCPJ9bDnKlnRCLr3tw+lSI5ojuFm4oioJtwLtgQYGxZD/fX/hik/DFe/5B1XmW0l2urL4Y4PD3rKUyaCnlw0Xz5M8hfpNYJir19TQZhYUKIH/jxzweL2i01OTD4sXbiVhTCtZ4ava9TJHIePIOiLiWQsKwQU/Cpu0tahxNaInwRk9Wcbl1ekoO+wyHNg8l7pKmaYR96MvzvC7awU1PhscbQrxi6pgg4du3S7ImVnF07b0HCxF5ZdYgCP5S50K9NHxBaFMBhpuSlmyt9+QtxGltnM3MdlPZV95vEdpT0lyf5/VFJ+GMyIaCnpTeS0/qZBGEKKoOCswZ6vuVdf+YGIM7Zpcti1idtDnciOdS0kMVEcRRnNaZn7nIRHWqnCZs/tEjRH8bkZGXlyn7YYL9W1du+1JkK9Q36Cfwv9251NhKjLlBat2G6DumPrWqf2/H9J2CvC3P+VbdDxGfTRzpogGmi6sS14bRl9ZJboM4xmiZ7+RcSb7oqEFP7nTztP8dDNRw5M/SR/nHiZ6BF89HNpKHhxtGkk2yKhBWTb24cdCW7H5lTvXndnGy2XCrCsvRDNsl84p9wkHEBJ4VO//uIyMnl+MQ3byOlalFiec570rc4o61OznJzyafBqy+lvhobauDp9SRWvaNSLRPl6em1Jv6oBsWHVbM8hH/Xqk+0yLslMEj54VKD0oRmQvmb4EouOTOexsxiXe/XzeEET0ywcmHHA/HKhR2t2b+DZc0ioBpQ3fE5ZPuiIUsMDQsNrwf1quep0vU6qymICL0TiL6ScKnS6KFr/8eHHfyuW5lQpZA59cE0QYi4ukb2svM/r/kL2ZIomvwJ2MMs8yYn6oGpirSPlLhcpGZ/8b/VhWK01JNxahn0YuWl7LeJr9bQPeD/wxbAsE9BvFgJYKRFMyOLNrPEQ51slq8PvR5In6gWOuWELhySktarQLWuj3HKprbpLtRDVCFYoiBVg2Q8U9oZZhPnGJjXCtwXNjEiy6vqFLxxEnAOZtwk3QLNWqa9EOZygf6YipeJDxJIxxceEpdVJYnKD9CEqUbFthpadNmzVmffbkXWHKt51pUByrlgop8s/D0mbE5Zd50jnTgu/kFEn36SKcKGkQLHbv7WxmhQOlDONiz5Giq/nErNr7SuW0CbuxyRAxPve8Vktovjq8DLgPAT6JNnlXsiTAM8pVmexCZqqImMkF+QsWSIulQUm/zfwT80XwodTZHOfPSXmU3NOieTkLcSAheqBOds8MzRlx1FVmyuIExh6wiXqC/Ne/7AsYvYN04pXf27Sj1wJZ+IdrLSn2/p6NQYcP7smTgHGIYbMCQNLHA/JKbIhHB0n8EWAcBG68yTAzWnpHd9qUQCaTib1wq46BG5Ef2rsl/eGmRplDRS4nKOZkzDfOKpCzP51pkCCMEMoUSiVzcmM9zG5BCk++97K1HvDqEW4jTU2diSPDVH46gHb7kDHFCM8/qL5LNxiPDHGUsxvyJosoirCR2qqN1LfHkGP5JLFqFG8sAKRdB2toOfaljuccwQwANACUaSb08d8p5xPi0jkGunFolH87y3HpsAWEO+BVghszyig4cDNs5g2R2q63ikab1xWZ3Jh4yf4XxCHaOKv+KS1euJv2KgBih1+b4d2cjLcceZqGrsbjEbedxF4chTEDKZqpQzF+I+GX0eoFfNkitxgT0gcSlCmZsmL9zYfrhOtIpPUIHU+mW73QpTcKLwbi0V4pEYsO9r1/SuvuYWghvDEZ+PKIwxBbg1fI30dUK4C//FsgpetWWh+dBOtiIk5GvuczwQ8lev28HAfRDaRJriwsoJmluWQ57+lf1XnFU5CT01ABXmZ5MI5NSYg1TgwknnsX+lUIfxzXJDN+0OwgykEdSZ5yJmdmw9ZR1DASj1VxqV8dtsRd02p3mmeuDn4rdQtSTJCpiTBT30lUMWLpt8VTpcm0+BftsjyAOBoKGnRDahL77I2DyjtHejXApphhH54MB3NhzrCgilRv/4/qRTRx7aVW8oSMnVlPE5LVJxlE3Xi0KmsABjEHrLOnO+kvpEjqSk05Xgfby0nxiCMFGvXrujEJf8jdimZDiBtKlXlD2fkOVVwSKj/a7C936a7Z4J/iz5GL5NUzYnwA612uwptL7IC05PhPqfwIgVv1hmzDEAPwOs/wbgnEr0fCrBBFstvabKz/IgLtnw7e/rsrFjV8jPpj5QInf6E98cRhhnkbHAm6CrEwWvpEmeXJThAncHyNafUhMES1bXvvRxg5zyVvYrwWXhI7UFIKttEQNV9BK5+rSG75jZdnkHcth2u+UjaDtxac4eG6I2sBRP0xhne7NSFcOzUKuj/jNItwfphpRtiKvGWWKIS05bc1nIDxehAAS9ywYK311OwEe1PcPH/VuGkfn+C9/DzNPrt9hkxGYWy+YAPmRQb+dw+uy7bUmZtkF/YdWNBtjotQH6fKkIBahlyjjOnc7vEj+Te4qWG/FbbbXZ+HogTgOP8w0n8kaxfzN7jbfFp8jAAeKy4VWF7LGfrdFdYnLfeSGORaDXbilh7f6vSYOKusYgiloRX95UxJ8EtER/HEmEmU6tbqRr852+QRhk6CU7g1OudFj9oDVDLLDW71Rx7G/NWzIKper5HxdK/Y/mjnngtWDlrbTciNlfR7qqm4KPvxexZ2YtnhHmTIpEu8r+TpCnhqnwsxf3OIMJEdVjRgSnAZ3bcd4FSHXRCilApKIHwmgq5+MyLz2bJ4FAhayFVmPAyDrYDYWVhC5NYXuLn3/c+ru7dcriTh4s0eHVkK1DQ026Ua4M2KWRln6p2iL/dknd8GYU0xZzph7lMBd5XExg8AUfap3wKxXXXBZGsKUA7Q8uZfWWxkYofKhiFITpyXgnkzYkdy3WfbFp57AT6VMefr+7P6BkzEeW3dVauE7DsazVwaoK9IuVHZsRi4csAHRMe8O9pjjI6ichGw2u3a8iZVh26sVu64MaNQuoefgdnqAHY9jqHGRK7qOhphYszynvJdfv/5KQYSRiEh2R/3sZL2cxfv8n8Fm/nZNcpMFbzByhNmTfbkMRGlV8xQr+BlhkDCyRpI2QUXwfQuLQUl/N8NCQjBMC+crvOr0NhER2R+b9/VgCpAmLl5npNfvIfwb8V6l6fZY/vLMvVYzK0LH1uUbB2/SDShkb4Yxt31pA1jNMHvdIaqRHarylOz8+5QGIM0LYaOH3PrEzflB634ejFXMnGHzxacx9aW92QO94nnV/R3MB5w6wQZXpV/z3d7YPmgoVOV6ey72I4VKaAXuT5XDANmynJMbO5lpEiBlsh6yIO/6XoODgB/y7EQ+2bN08c3YQ+cx1NR5bGskePFGA+bRavDgoX8MaTNsHj2bHG+s85B7OgV377hTmAKVByV4c9IWxoh5pEVZIVbCcXaqRJrVkjd1XDGvtpzkE4hr8ggJ/GEQyqgeblPzy9K4oX6OwJ3TlOE096rLKIrTgWsJ1K4m8Fbm5AoLy3sslFe3c/Sh18qm0kv8WMZxzGNmyOb5YeJvQAcONQ1dMpxGP5pj+tRxoibvgpJ36/pVtJV5gRcPXS7KIi5g5rHUKe7ejQHqqYfVid3GaLq45ka/NrFR2IPH5dexjRUZ2yk30FMhz48HKab5XxudczCodc3uTRV7lLf0V4T+M9MB7RKkifhD3oDRjzIouAsjXNHrF00hPUjD+U2Z3+VDwkr1/GSW8V/jGd/5kekvNP7gqnBMniknOxgrHt6NsUnDeXcZr+YfuUrzyhlFsJVT+o/ZgjmYf7Ks9cwtFuFzaTpLjFHicSZMsfahp4U9N1wjUWZZDnvy+emvGxTo41CO5msbKFsHvlE2X0VguMKzPWKMH7D02PXeE5EK+PNJgk0An7LldjT2QAeKOAQoxXS2E0xkTyDNhlHAFZV/m6Z78SREAOTh5vYfFWPoj4AxYjgsswCWkUgTzZzD2lDgUHhbt16feYzaMEmMAYUzNlJmgLa032BvR4WFBfFLOu6jmMLzAUYY5xmnyu1zyxLvzoBB6PLy/IAK+1w+I5/aRR681ITEXaeatUGcvSX+3sTf6nviHDKTxOV4Ygw6vM6xrig/HaLD0Eos4mGwcPRCpL3/CovKGrfC1AFVpZLeDJ0lJzflkOdMhzmfe6s23fdhS1+L/aKygWcDD+2PYg7B87WN23Y38m/hXCfNPCUg5xrbQsaAloNuN82QtCBGCoBZSWt4eVyRm/Ifx+JLO4sOU83mq27Aj8ekxzeL7Lb+7xnB+bJ/EbGZmPvZSdtDFAmb8/QNy0mF/YRTESG2qLvHMW06sblnvJYWL2q3ge+3gUM5TgsffMoUU/csPsye6N7q9I/gVPzoS3bG3tdbcvR9TtmlJxJsbZ5FAsYssz7g9GtJYQY+zOrp5IfH2MiCej78WcaAiGVPTexwbGxyvQIR+3K96cN4OGVHY5P/TrM17R4ReIMAB2xPspHkVS/WWJoFuRcj9NsRnlSuIckoew96Npf+L5GeKgo+0yNgJnLZLWS6SObfNTKmEwGr+tJbVxq2Epi6FM3H/ZnRlCoQ+f+boRCRKzY+BMPp7R8uJ7QXktO53f8n5NehhoRGYBoEx3bQmQaGmoj/VZiFbzWFXUfelvAFWKs0S4qGUmdyhGd37L/SY65BMrGRSWE66hZtOLdBQfZWJ13mAcsObD/wV/7BiOyVVDhoZjcUbRp1ADQaNyvzUgdwtfi8XhXdimDR7biM7UofRv82ceVvJEEl796r+CEK8vmAsJys35TBwlrq/NyegbZN1gBlSalEdi10gzkZpvi1PltjqyDB54iSK5yKn+jV/AbzfEsD9ogxPj2BXo7hQDTA6DfY0fPiySvh6LAPPjwfpYZA0mLp5zV/JzC3DPDK079FyAZxck6l65dmaIYRMHuzg64+cpBU/tVc8BNP10GREfaxwWlx6qH+fpynqIW0h5S5wXrlVLuzHPB2ZbMCDAqtgkwgWUoLe1hZ+yMFwjjSUKPVHAZ5lbeGvtoSdeT5Srythdjx0yHdoMticN/XpoAkFeO2UREK2/uaV9cD2TBngjpmOgOHRwUCjfWUfaZ/QpX+YTj1C5xdbVa8RXVRFqchD5T3mKQx/i0Y5CGbQVBcpjYFz/IhcmCrepjvPN989UZ6+qY2m7FDUsO+/gw5iUVG+6zGcdgI5yEYJl2+MnNy+7tO01bol6Et61XNToyQ2TvGOp0PC3gBXfajr5CXufUgy4Vf9RfS9rr8HkKstOjTwmDy+YBmUkLqs/VdsxPkVMqUz5cdFm/Dyvmv3XkZB+j/8oetXW//kidzFHIjHS2PoFWnVkr07rFeDPG8Pj9y7ZUc8Q2DzDEdq1jt1apkhOcH98qDexKL97QBBPySibCRjJcCqzi/FSFVXL53vVs3EqX5qc8mYE8owjehAv0vsACGT7rVsR4QnvOd6Gjg3Y/wNoNbDhk5+/PL4FOtVXDG20jd2UGSozU/8p1nS25vxV+d3gCZcgDisXDhy8wLeKf2Agla8yF7ImSweOB66usX5tbIbtelA9ycIqUOVYCCKRlHQgj1mKb0esu0SIgs4ZEZZN2rujUcmExjTWIaM8IuaNmOxVi7gThyVGG2yobjwnryaJ3vb8UCCRQlId7smDco3hidDy6L00Syd1SydWNzGI00Axh/ItUS1TIjcm1tckkdSwoHMEk5x+r8OED4Vb14RA/kxYHCwD9SvPPgvpn/YFP8gv8ZX+GFyyDUHMQwtIeeSJantNXCG3GPhrjDppYQbYp+MjRomwzkP0CS1Boz2SIG+8kw2v7Ftkt2SYo2MEHL2BJXkwMDbMgDgSug/JmjT4bbIEWnHKDY94DSkM7ShMTigtdizH++t8JaSW40APcBISDP2cwcWEKSlgWycmAYrpQ9wEMUfoxi4/NZATmv/rqNrkT7PRPcBPrHXTRkdDwuwoNXdB0DBPniU6C5xvHA2JRNPvKmD6rqqJKRxD6Wb5jO0PPUTQdx70FQqS1eCibRJ+7dgYg1OAqH72iNWBwfXVnlH9ZRsshnVczZy5f8/iPKCJtz6XkgKZ1NWl3PJB5Dp2heuurLm8OhsiCf74VXqqJlwRLdwJfdk8PXZOr7OLP5+kK3xrBATAeXCmime5RbH33QTeWMcWvkXAu86z6VsM+qSVb4ve/Wgcvv6Rv+tS1Fc1xdBhBimvy9vV0x11BDqoKNNorcWyQz2DdotWUDX/lDRYusFFhS/5d2ahdzFBcTJGZcgeePRqn+D4v13p6XaQ990Ykb0lHZWjIoPnh+NQtXbWT/MtSpbMsI6jo2qJkIrb0t+qlTh+sOklNuYVNo8PFJU1DREgWJdLhYY4LV5hCOnguE8MbiAmP67ajNhiy6UPk3cCVhmqBj2s+143668PkMfp8ytVR+EYPLFLg6D4xCYhYN9LGJZIwy7ONEf8O1kqhuobIWsedUN2ceHl0dP649pGN9SlMp3kEOz8+CSvJrH+xG6KNxjU7ueXOyndzsQj22811yxVtVEFjszamdNExLKL1YNQlWlNhDpnvNO4wLmX8Lg8U3KGituZd8U/Hlg464lgMJQCn72WELWIZk0mm9rGGd6mVaSKVrdVQ5mbgo1pdRY12rxhNXY4m3PHPezxvKmHQei/nOy0drzKDY0gKla7Kaddl0MTblAJpTZeTffsahnPQ/8+PAa7sADuRGfq/0/Qq2toXHdLUTv3n3PxH+P9iXTQmmdKDZQ6QZkO4pUsvzdgCpdOqBT3U1ry/JqhQpGhCz+ysHrK+W037GyI92MFPgQs9eLr+IaGTNEJ3TAUlLyEfhc58NUtLMuYeUyZYkTVCjzjT+GwOO/+uss/NoEzjaYCzBZUN/8DpqoiXfsJxBCewwTVTzxM5sJFJJDOkqkw+dwvgyDl9u9fR67EgFNvUfbS+y6JjwzJY7nf/XwyD6oqVTQuZac956pmfj2NUXjy0WB/OPdZxp21MGDFw7FQHBxkvAEx9HS7BnM9c9zYlEWQflw/1iXW1c9uIcEnd1/fdblct7xai5BOZo2FX5gbRtBmwUgh2E4ziuQ9es37CaBuaSB7zmMgqOcONVjT14WtpzPCAhxO2oZIJUV/G0v6Yl+VKdjhxjSwcRFHS94uALZD9DtILnJ66jFKwUaxrlFBunvnVlkvg4LsN/pkBXO07fG/FHNEmjkEGDGNzwFWXkk5Gwm81EEfS6M8xfuUC7GcmsTOYhbw+5vUSUvuYWOfNH6CgiIHnRfUC3ZsB6gUhmFEBJ2nE1uZrAYp8QKsRudNUCgz1haK+3cqg8+WrI2hkyY/gsjkEGFfHb2PMbvqJZWliCB8r2D6HlhZwzQ9Zjw4rQT+IPm02vkOMpxFVIvHuoKTJZeoOYzeqXVn/6Vf2c5gaGGzHHtuGLKGe8izFmMn24XJYcN8/a9OV397D25dMDYWzFPriOdDosPPqJ22b6Q3tK4Srt8SUFfhFnzOBoJMKCFAu/DzAroERjrxxjKxWWHi54pNmA93Gw7MMCOIWkyXBNaBcxM283MykiJxYVQBM4uSOx+B0o7hY0mYOEFjKb/196qJq7rWCHgtDnIC1zXKlVVkc8ACRTnQZyC4vT+RP7rIESqbdSuoVUqAar4D8k9OjS9LC1ES94oe9KHDhuvs/L5AbVBQos1pfG8rK3qiqMogGP2BXtdhDCE5QsBzfNgmdNpgkIvJHoldEdUR5J/UUimfAlbiaA8aW1iXsNHQkwQqSq1K4a1XNfViEt1R34kpvhOf+i7seswFGmBn0r4WqHzqC+1CKAKJ7dNoSmqzITFaH2Efa8gntPjmQ+kNv96TMhdhBSf0FE6FaGSOJlUF0KRZCf5P26UlKJjx+vQ/BUZ6zOBvPR8us7RMb+F0en9Drowqgx2Va0kuYVZptrefWNvmEh+RSf9NtkUHheDKnAIHI5hiSj2cCXcCLCF727lyuOlpiKQXbLpVH45FgQOToxLYEvZSNuhbKs0IwAWBHMTe6zZQvNAWooI0vtLrBoOD+vMvbmkHGb9U6sEiLn1PM2AgmjHAcuaEUtkDKpC/vMNfRI20rD51+GDxmYuTZ6KKLJCGotKb0S7vad5pa8DEK6ZrlDGZnzHlVLfrafNG7x13NA9NtwPCLKq6tb2lReYLdCi2DBLtsCJNFdx2f7H+pN2UBeFqkMuJ8dclEJqI7mJYbdvWg+Y0XutfH7Mq21HESbTGNvTqVjuGGvxuT4ryGoTFQLXBAb46rsU2cK8ARJt2mh8RbnPdhM6/kw5vgSKQSdt0G8WkDr+RbXyOEap3f0muRioh+SJFROSzkQtAqf7Wcr2lw0naUoN4PkQGV0GxMD4wsTnI61BO9C7ZHMxz/GvNJl6RmCBrYIyQMA0zuvsf0fLWCWs3KvTcO3sBqPrcKR3RuPK0PEyzcfTkIIC9+TnjolNDK6g5fFWA2R3dTPcrYEzxk6lTvzeN79CLiEpk0MV8huzX6qdUGW+P3FNLX/8mf52bNTboHumGWvl3ukV9DDpbMrS292I9yUt07v9hFqOuIkzNJ6hro9n2YE2GcdMYRH3aWrA0255aCLHHEymC+lowiO65taYm3UsdXaT4zGT1IX1HJwgng3O0vV6eXpuQvW9cxFShKQIhLRFO/bmxR+5vg3UkDcnS1Phriue95SuUz/9ywgoiFiIvzCMY8vBUkgpHmAkPRJKdnbHNBKhzVtvM2ENCNKTpYBVEhG5y0jaEYpOwX7s+hi1T0hpUGbt1z1U2+9d+ST46cQSSNGOq8mrQksb31CjtXuweJWrgWnYOxi96iVt4JHBIg/TPdIIP7QPFX3WVquyvdnv/Cq6tWnd+qy8nhk8eoQelFLSo2r3e6yHLnMmFpeVBDVBRvt1kNkA5pCui6ReXKlAljVHIFX6WlRqkBNcEuBUKDeoxP87uR9K/i63X9s1qUElcEdRhr4v9cyItrJRjhTN0hlrrPtZX1hXr3ojYIGfpmzENiksrlYS/JqovRP0Mdl7vGK7A6cq9DZvPlMdFCti9sBZOx9DAaVKbt/0MNu6KWkksqXL5P8GuCa6mP29oqueJ5/qjCfkDXXycGhcChZVgk6+/x3/CNJa65SXh+kghIpUhe1Loc5IlL3elX06sMJXDAWt800YagiZbdYSRjcN1FGOkqvCHgznXFE2UiYTt0Q6uS5UdlHpB++3YC549g6omOkCYphMqxyZVr8gznULNmB4+UMZn8Eh9FXreFoK7kw1XIaeL/IV/lSxk6yEqTbI5hh3MJSm5+50i2BmebEGMNX2z++ntcu3zw4lQvZxEKNxkxSL3orctK/7++at+N8bgE94N6Ts/aFhYa9YmR3Vqy67Df1i7eJq809ZzvCUQyBEUrd8wnIuxxWPnBrQt5ywrrkDK0lIinBnTiovxKMuUqaY5FQ7OP4j0DTAQjTmZdkgR5MsafiogSohl+o1HtxFdm2gWsF+/LCwVnzMd3vau75XOUbnnXBT7dCC3/SjRObZGvYLPlVer19afYC7eZy5apFI0jXe9rmViQpe31v+bNwZjT3hHFfKQbgYeZlPRAwTneX3/A6rYqHdBNmd4AqqJ+Xl6uK3TSRZ/waCt2S4J0Lm/xtYcXMvUD5LXz2UK32i8ee971dm9kbyydUViCJpWQFmmsxDbnk2SKNGfG2A0IUPZWDK/fxu0DgogtjnhtOIAJgVB//lqG3B1xLWisvS8U6g70H3nZ7+Vp1wYM1H/Vjb6BjbG8aJ8xwrmu+2k0t/Cvj9RB7fH94ZUbosTEtj4s9iV6Ps89CUBD2/pZDyFfRWeTdNLQMiXGREdQvAsc3jyjOY+LsOn8tjEa0jno6/4L7C5u+4M0gvWHKn6WRwGcICalONGClUOFadsrtGV7bNamRmEmHUuqWOAGjkETfd7JHTFVAr8HBrMS39bkEYucob/qTPO6UcU1/DmHyMfIGZXXLUK2yFQzueKQJwTBERrRvneZxa253RWmD+81Zq7PNVoQZVDU7u8EQlHXsD53VVTAn2DHgQR/WIwwPPO4eBh6zQX40hV3AWBdxUMCH90V/nXErGLDyqimw9LKrM+uvaLBawgcTYQVrL+wqIcCBQ3RDs4MFEnmV9+4HFLcXHnzIG4SbtQG8ju9Aolvl/6xeEH7QevhNDRtYr7H1PnQbRcecU/mhH3pFF/X6botab1/NG1RvJt8CHND38ilh19MLMxuoIVRBftq45CSrC+YRAiuWJXO9rPaBWnWycLftVDKUp7MaO6CiLKhmfQzAEViNqxmHpUawyf9GuOjUO6QdRvF4No9JI3mkyVYNlV3/eJayQkCqsHLN6tTWPGL08usW4slWFexVJxPTPZLJB629zmGTOR/TqRUZs9lRQhZwiDyYGwN9Y5GJCPO2VmQpNyDztT+cSmyXOZgilT1rKc74U0+lQqCvuVF9m2Ayph2c48pmpJkxb3ZHZP56t/5dug8WBCE7Oa2paLELWAVbtmVVwktkAtEg6eluLLt0RXZSY9+gP5HpOHbgJkeT4hZIPWnuR5ZluPr6B0ttVuu1s0HKe5EjOTOmMYYabLPdkSw8GT2EMcd9+mVSwcadjySJXfdwa1neICCgYw33CRBowopRH6wR77cqXxQjgXujtzznBh7KrLP3yBKJLcBilw4U8YpPboKyQY3soGuM3b4yuXwK7IYFE2NmyT7eQWTTztT4B+RRIXT9UmLI0Kix2q0RteDT8BxjjPNFXJsrXEL7UvwE7VwTYztqEV3vhBugm0ali38sP+QMa1zljsIWJi2Y+dZ1hrgQXQ+IPhQh2X/13d7IR65w+/dWbIvgdgWT21fPILWL2Ur/2+PRraYJSARcdH0BhZNt2plJ6n18dzJTiDFWFY7RYtY1WgUKfZE20vZIwSBKHPamGL9SxBXMa8Vjf19Icx0xWGy8uSyLufxKjaBpPPtyTs8q1E/ZvEJjfaWFTLFwKQ5bjHTZLjq06qkUqEN3oVD/tRtHztqpuJQiEwvu7XDSws5XKbmVD7LaCpfO8wit+UoVS558NhVqJm5gA3ssVhH1iIiYL/JP+StJaO3MlBKOdgNAn2kINEyI6Q2nCtjF6GkVhluelEV524m12w2lql7iD4bFi7xaFHw1+eASihDDEqO3ccQ6/yTl3YXk3h1hT5Txh97syEfKMAjSEkjjXFEg/N/x/xPI+rqZt13w0wByDUMosyQq4Uj45RbkYUg1klgzC/rOp6IwQjoJEJhJB8t0hn82sU1OwouNixqDQW6KV+LOrPkP6oNOxwHqJ8bETmoYWTkp/3T2VjICCK28yq5cuNMv41C1sk3Jz5jKOlxIFwyneIwn39IDT8Vx8geqvi+/szoFFlu5vAgYtf8BP/Ilca1pn5YxYzqW7zTpPCQLzcwDGCrV7SvCjsubkul37QpiFdX87tfqtezoshiZPblsOYl8Z3AGWC3S2650sJ5J5JAGEOKp6+mLnBmPgCfGFRWoP2J2eNnDf95hgTY8mVOSE3bmxzGZbVT33xxxtq4wsJ+jLr20jUZmtG9mY5rq4Bg+LdlqDEAvgo/+Z3axN8jL4ySPOQAudV2ww+QExB/6/Bhzh0GYNi15zcU3TzZNoOfOBBIY3wU1zvl2PhdBG97+H8fbZTXR8F8E4BPIJ9EyniroUeuL7rSR8oc0/pGyoU54Pdo1s8WPUtm+t5QLk9AJCt3goBEgT1AT5OdXFGztNfcz8zsO8wBUGWhytdSwKri38qJNjYgQjx5DGktu5omG92xHL+VDWidYDE8s2YSOFsvN4wa9BpTo9sOw6MynxnlgtHwOiueawNWHBtgiKF3OE+AAPWM57VQrivcSz3qbOrTu4m2A3BCPmy4U1gultSzoXJO/SBjhrdZIgk9cuuapiolqXGdCDmY1kK2H6m7lRrotjNmpM24AHUeZUup4ffaSMdRXrsHav/HQ+Y22U8rgI79PwxFgLtxlFqt9qXepDfm7TZU5JSXnuaXR+ADpjjXDAGu0W+TqJtgD6N0B0M1VSxZ5dHA5US3R3VSE9AUEfE+8xX1Cs8qR0v3d4yTctu1fn3ACE9/ISVaQ/srBxAae8BKIoMu4X0x8dI43kidmOTz0kjE7cvo/DRRZ5gXUHMMND+4bXEt2PHFpvd+/g7ZwAPyxMz5WfUgrtGoPwNZ3TV3lKoy21iJseRwPA14P0zVNDJwObOu6nnz3g/dSRSriyfG5hz3O09+/UcaQ0yYBl+zdsyyagwCEfTFxMiS5tExu5YWLX2mW3uuvMgGBXas/iWSD/cf3TnFtt7BRCcTsNI8ZME/jYHNyGtXHxGJzkOKKAa6bQj3JINQZwe5To8q8Lj2a/tpJ3I/NUsokIrOXUmTribpAkA/dTrLT8kXGDSIE1csQ1mAHqCPt9jLoWkTf8lZPNM4Vfu5+uQprYjMHJXES962F1wXF/0UTP5Uu5Q96P3K/tdKpC2jIeFhQI7xZ+XxQMDcpeFgqZnKet/rDcSrpqXZSE3KVuOKkHeD7OsZJ7rakqry6vefGduQ82osvuuUIH9V0BqMIG6XvsdHwIXK1ChM/3Pe9dcKzAtqvY+5RofKQeOf6djnqBeCmrYonoAmOFzg3caj4xVhqRsRvW947aDJ4QCtfYwnLNNRjn1eVsUcV2vd8t+xLnF6vZHu+q7yvP/Fb4n1F79CktvuWB7cVyzh4K2U0LPP51cxO6BJ7cqMhMWg5nUrK0dmv5z320cjv4i69/jG2PGCOupoxJuPJfs8EYuppDQ5uVcoT9JQbLGG0AClO3vpfIVE3jPysFzWfBSgMO00QqzjkKUh2nOJEIZ2QGke0EmyPLmNuJ78w5+5ibyNet6AsJv6Tq3HhPky0TNtXpiIn6NpMhAvertAsEzUwUpbTYQmmR0KWWvB6nLo5tomn3ywopW29WL7EHh98EVWb+mAKId3Ai1OgoyMjlN2W5KPyfifBqu1reQWdSv8IzpKJhBy97/9JqlGPcWvMSbkHxFvon2G8FiStqGUG33MlRWy6ig2MCrH9O5V+JktinhAAorOYelOzFYheFJqeL9hCZdVHRaVm6HosEzfDUtiTJ1cTj3MyWc7M1ZcjUCBSfhjFVdJrinvFaIvtLUGZqeaKL7ArewemFnJbWZ8D62g+e3MXz5QNOM4qdjq5V/WgvPDQVdP862gKT5ysWZ40puHad0Y9YlybeYSkYuV7DNpwDJ35taszeVTZkdb1EhmGjQWtrSMzxPnJ9NuRXsXaV3BdoP/n/QjmN+mdZEkFJUdHqKMC3Lx+3RGS5g3gri4Rk4ZocjUtCuF/wUWliOs6nkB2jgPAgzWRnrnm6AyCkgBYKYyCz9DslJkjktHovzQCW918oI14h5JjkaWAxLv2a0rctmKkDGIhN8ulo/aYdijqyovSVsw5gjFcb8/fWT3QrxCgVEgjVgVWob0Aq29amEDgh8BMFjl5P8lY929XLJwAIbiYqrHoOD7w45ohZukVOdedJqQ4S5+TlwR6voREuUnYSOrg73G02+924bk7krx2PxBF2vY64WELafFzMQYYjlY2IDiBtDrBJSyDwhyk1H2lfqFC+FV8/SKTyOVHR0O3jXVeYiZH38YChV+uvntqtx0tn49u76hAOrsV8FJNUzvPNdomSINbW5LAwp7TUMcAJF2nLqXrkpWtW1Ku2DLPN9zOYj2jNRER8rUpoyTen7Q9G/REMZkoSUF54JKdEhxnLB95pmXLGioBWv1fs15iiWhihBlNGxnePojCOr9AtBFzh+sk89HwH0Y3kFRMKguXrlZourEYzBN5VymQmf+ggou0tDYTrbnyjkPMgP9MH5AxU5gQvEeaSeN8/3czblXoIuDbU+d6gHxmw+wR4s9RAx/7kO2ardoYBRepnhSzTCT/35L0UcSN9yE5vg1vc1FIN40PV9zLXCMmxUUZl8d28fQiGe1fQSz0rNaaaiReaAkaxUfw9LWsmULSSQC4nIg0RyGRxZSx17kYcQxLQJPt8Qc8IT9qpSGpcSsYCvR7dMxrCKUKXQyEXqTL/9l5cQ17CoG4gGJ8AlEP08lnyLeQHYZrvJ6wQ9HXu0JpWIoXU9/3glUgFLObsO9wdEbSzPcNvkURVJf5kLP4boq9uyjAc36vAm4xfHKqx2NWTmqJHv7XHnnw5EMyPzw4iarKqPe1WOZ+V64hqywQbo2oPUp8T96VNm9C8ihu3ms/KgJDBbHqueG4i5ix47r2B2TM+riU7VyrJqbGXF77kUWcytyHEjb38tDEuocgYCTg9C/rf2pPrYMZempdaPkb5boFypUeaX9Wj9XzuCixlKyrk5i5VyxqR0evnu3HgkFTYhwmUjxBluGI86jq8rr3FzYkp30NVivNEsHGFIZcVjiIR33FJf4vi5ZW4qmWcaUQUzis9Ya2ZqKO9EFR4635N0FJRgtYFdltJRowyOq4zCkx+R0F8QYaOVCDXxZAu3hg8RKHPhVE1/3fGVmrXwQTn3kaa84UMz4918uAVmO5/Uc3aiwKMNwPclm3Wxkas5zQ6xtwlRcaeOlaeupjWmHdFQUrh7MyCvaQGYW+mn97MU9GAIF9S8VOT4ory+TWyLe4tr+Io+haye1k+ZriwtrkpI/pZZWp7E2Dh+CXCiKLL/m14+JdNv2y+G9RyP/U1dGb2/V+LMfpqxif4Z8Zo9FpfOFCMB7CDXOBx65IgV5xSkPGHMZZGFrdl2kgRHT5p692n9rZeJf3VOxLEYSAamvlCAPgeSy1wkydSAJ0uZRTgNknOjfQHn8Kbq1a9ng7pwkA00bwNJao463Sd64g0e6JiRiNn+F8Dyl08u6V9g4uFARcLuyJcIcZLpMFPdqK0wW8qHV07JbODOnJ4fcW5iYCYhgITiKdmsRRqxKcu7fWzlgoxvoN4GWOkisSrc3RykELmJN/0rTpLJI46XWS561rzFebGofjbZ3GrLeH9PjIIAQ0wvB7Smg7l9fXM9Zha8AL2arqrYWngr7DyuNl5vu56xtjfvaOQ3Nlh/Tgyt5wXwiV8wkd6O5/eTC5y763HK4L7VgQY7cnhVUrtjaONUKLt95j3EYT3N2Zz1iuFB5ZtVJKn2FNtetVpYiXdOl9qUZGXl/SPEQkplxeDW6G1sbwmHsknNiunlThUD0QdPh4o0ATQSbmC2v7alP/hGMID9z2lyz64ZjE23h5acMb2UHzeshTHoEMkqANfQvsKjKHXZRLoWogUmPzyUapTIHPHloRJB8jyw7lU/18xF53zM7/zNmFJ791APOXkatz1uwoO7FTFJt+hWf6AqTO3m1KfnsFM9sVCoUOZ0eZk/r8yofcdRkPyTKw6GllaYnMI3fspILRyVGUeZwyUFax119iUz0iImxolsiRHv8avLyZyza/Zyn8TTD9BF3SKg/R6B4cAUV+20MfmYyNyNAxk6lbwa6ELHEC5Qiz4zwS1HdE+JD2rt09AZmm8KizQqSxq8YZHKQ6w+hOxZbILHPzFiDki4ksjQdYMGcFfn4cexd/GWVRAM+FtRMdUrdCGyA28R3atp3zOQY8bCMVYv4gwpLSJiYXtYyEzARv+S7vJdUPcyUUHADqYYPOoxSgM0GwM3/tmo/Ejqok8InU3uaTHWie87e6rlxRWy7sdGGD6Dr3c3Tq5jXiLqdW5WkhunWqvF1CFwkzsHfD1WQaIS1rEzP0449kA4nQIsWuYBdI5SqA0r90FLgyXHeGX1mVkmZR6y9L+DjxrM//uum3fLJbuV5gsOmUFe28/bRlDasF50WcovDGUKLowrC8OWlXa40PQ71xtu2/r45r/BAGSelpnNZh9Z15shwrqYtYM/NpOAbTaIPXK2CldLlQIkwAkr6btbDHP5GQ9guZ4RCL0I3xBiiS85aSppmqZDYLIOyVkA+QXS321sOi2K2gBGO0O38u/LV2Oagzdy1P7qCRXacFj3DZ9lgF39CBcfRiz9kc+4BLXZzHBT4dJoXcdswlyzPKEU5I964SLDCHEMhKnYQ53pW5DnawacONvRnTcywZUwpZ65R+myJc2JqNa8IqPoTM6D4+vqoWEsTP0Auz1Ar3tW8Pc7SQYwA4sZMDCmJDO4v1dJlBzCYD2r2XfReWrkGxCuUAiwcpHgjszrC5QHMbevaKkvNUh/PsBfYp2xJ/LSgvF8OtVuLB0DSlRwream1Maocw/MXWLKzlVZguVHWTfa8OLRRFCPWOSxRIAVvJFbqrvrr9aQzyAbplayfBHh/2O9GwjKgmkzyF0P9wMZ1ojOJE3/5evQOtO6RGZGtdUjfoDneV4axI1Wv/2zjCUWMfdusCVHMXMDhMos+opOzAxZR5//YGvFPEE9LkZYVWgAQauaZTCX6YBuY0oTtbSGUNI1+bBbPHGL8ufpy3W/yeiiGYohmFtTkaOR++9C3V6XGYsthnyywzplIJNwW2VlNlh/J4x3IT4gI8oMaY/gG83fzCCpNVoYlSVrwUzHQeB3YBN72VqYEbkniVRL7tK1PzmLZdvPPKb5A7WY/4gZNMOYRxItUXvchXKhcwMiZ6s7CWKiadRisQoqUCck4mPU4Uv6HQkyj/3KFWeyfbTD0A3Tc+Tois1NyuflabnkQYqAljiBmVdfx01skfwWVSh8k2cEZqWAAFP3w9i9/g31kRL5yApSWmIexNGIwQLfPG+ZO38TFfMWysq7lItEacw9Tio4Po8F5V5J71Ae5WkfBYANIri/ltoXc3Wmr+h8AmMqBcpgmoS3h7RodfGKMuR3tY4Mg2Dx1MYOAPvXbrQ98s2zPEq8nY59yUEhT5a3hq4EgQcaW+eitcE07q2k9OAt+VaS4Vw14xPjm60oFAkB6fMl6bDP8gZQGgNXwEFW3hzxNomarqxniYUZNW4SHKnNRDfnFweh2/4eIdSw/+5jGjo9VksF8Hln2A4WxUvNNk3anW4gHuxPOAPW28eLu5ie6+NQFx4e1R8+paghSDlK2KaSjx12Lisn8S5ut0kaP9i+KWpE38D0KcmWDMpvFPgava+x/5Ep/pRB10mb7fEr1SEV8OK9eHE7teM1Rw0sbNLkgQE8XPORFXhnkUnyFqRFZH/1ORJXkgtcQaY9oXQBCAiO1iR84SYNQRcdzh62IIvKb2eBsSILqQIfH4OQWibnFivTYoJKtASDgf7WTTqgkEQ/GHDBV3HIHvFI5bQxwtNesUtjAJas7l1g6sMCkBBq8/oTrDd+TfN5CcrWit5nfN7eY5boQM8wJEep6oVY9VfhuJ8IEd0VNmT8Am+di+nZc8V7aYbzSxEzRi0FvXqrVdUA6je1PcegOzUNT/OnM561PGtFkMUiph7osFlmH7RqkgmyhflcBdv86NYQrRhvuljyw4bw5/Tv/zWK6x2uxRhbmZ7YS0+iruWgmtiL3mOeuSmQIZKRzhdicGvszLooqKgbMJHX3st6Pa606tpPB7KOjf8JgWIHINxcUmea2oLW4DjP1OHpGWdJRjA98/SIEykz0C6vlCEKGMh78Ymb/tYlc6H+PITCG9yGUf7DJEOJDA5/ffzbbTPDDdGrli+urgz8f6oOBoSESkF+CpsssUWfL0Ck/vxSf8sZnkz+ORkV/xXDjkKdvLfaKpY94mVaGV5fVDF/jxDaqfxCR2Qbgk1x2azJFAQ5kA4vgCoaI66FTwFJ9RPeStt6+Zvc0JXXLQNAS+CYO5pnTWy89fKUW5cas/Pqc3v558cezjl+/uRoLea5ITesUl6mZ1Bsfqf/kevug+Y0ozhzvk0COxX6UOIsbKzJ7zHAWkC2jD95yN0BTvggVaOSXc0xGFtvNVohqOWrvlO9g+0c7R/ekFKLOrOqqSvttVKhFVSgnLnGh4ht/sgNHpFQZTd3ITm0yKMbwkutRSBvPsn3lXgiPxwhOCtFwiAE9ZiggHHHEtQDwAsSzQNgNgmmyfdkYFCD64Ufm7R7P4YazKjTlI9CcemGwkK4yBJQczN5LbBtY9P26UwfT4GXK6/W9OnMv/bICwgziCkpCeqi9vS8EuQxvC8Vs4Vavddq6n/xNXd1yA29BbkmAB6AzzJ21wuVJCucEwimfzclU4/hKOderxf2IoUPdd6lR18gI8PgK1uifVB6UjDDBS3Y7MNSErnqSFDE5O0+fzDGSU9xk/3s/KO0hkm/0kbRhZlLZAA2WiAmjCs7eOw3k3Uv4qEF3hyPBbMlp+o6e3okH6tQULoeX7P9d0PKblN4xuAuB1EYLxNMppXd9P9ujS77hVP+OAc66q06krWM7OL5dguCcIMfGLVYDTk3GWkPewg5EX4aKHg04MDL6uw/n+55C7IwfRdEhPesV68VwLMXbRjFtwQJn4o9uxBcN+07vmZm982Vzhj++AfTMxmCd2kIyOXk8LUI4cG5xJr2hxlIV4BS0RieAwUcYGwApTpShVrl8S29xXsAqru43Oj+kCK0ti1QYLnGH44CuCvxwNZ/k2hp2NsLnbVWSKpQ/IibujV0rNDh+aMozKCECer0w2PAeHbEc8KOJ7qj+JLKfLJFsJntbmerz0FXUlczE72cylxpVRlS1JKc18dvPvxc61lftXEA6ZdPv00QnXdgMsFDNxE0V6AdS6q2OXaFaK4sM9qnxa263uquY1Mev+dCIxqwYAsUrN7DXmXHplKdfzUp3zutdt5daBvGMOG0FCYy6x6QRQUwbhLXu5t7heN4BypU7j5lw/YHwr79v19wCqqBuQZ/XbFEa6UpAe4Wr8hsqLU0NkO5hlYjJ2CJkc/h3Qwd8s4Iym2wqn3zRXnXb/nMV57a3vTV87BMctKtk9mb7nax+DFSio1fS4eoOAe2wso0X9RQM/SnbmPGhwkQlRGrZyfVSOz0cE40OiHAcxIGCReOJAV8lEFeEx3u7Wxu4Qwi5rrfCjAqX5a0n8RRMkxtAU/UaWhddNrw/78jy2QhLVQvZ9Iu6XLXH6Kg5DMcrJH3EufDDK/En6DOSvRAPDN2wYBZwiwMo34rmZvDz8Lv12Yn7aSN7O2agjej08anR6mvxW7/6rbajUn0afbYWKpUbRXjlRPM7NMgbYmno/8ICq6gzbnoIC4Ps3nigDo4jHqy61/l5YcALJY9h0QevZs+vEFrIQ5opx7Es9ZNXfIy3AedT/R2YziVRIELFWpJticRJmnP4e3qBDNuVPw3CPScgPMwWEjL382f4VUndQcsVYD+Pr6oodJjsOXXCD5wZ4dECOK1XzCNIRHwn0FhNkvG2WMFSxmr2M2rdcJR7i47w74e1C7LHfqQbCdcbHxcI19yz6+pNedB0RdqtBFdmBtv55BuPIIS8s9Sgtq38Y2s5dWYpnSzsi1X7EUdliOV3qHUePDoBKXO06/M1YlMTzVTjEI9MP5TGL9NF9B8795XoUF0tUmNlGfSJS0b/ETQw67aoyK8iHbXL8djwPHdQQh+JSUpv4uJ+vc3idt4eCP9tYRqWV6WoMSqCtyU0fo/4JVug+fgl5MAaxZH5Hg2lHAZPeLGD7kR1lYxV5f92DUDc78LZoLfeNHxJBrtTHbkf85vvmH4PtoIXm0/PTK752BTd1lNeU7FR5qBW0zJyqLspULuPjixBYz9o6yI0+IWvbfRolOdPRP/cGTVYS9CqGea5cUOS1CPdbxXUB6YprFXbjn7Fh7lYfxRawrj6D7fyx9h9gxT4hT1//7pQfeoral9qF9kM6UUi0NS1TNrYat6/PVAEY0Dbd/tGRaBhWygiZmM3lYpiB8Qf2ZBPY5rYen8aXQrhKxWDpf+soZzfiXJ2MUAs/ivt6Kx3oapUS6bsPiwYzzsl5rlmuKFcZDKXgyJdqS67kwX7rgpDNvGrsr0dr1KXZZ9cuIN5X6t+l5n3oKqKWRm6ogkcAgp3kdANcL9+lN9RxWdLcfYFMtQ1lzFZ0Jg8BvW0ntsp+y/hjAyT+L2bxB+fHzUITf8Q2EiqYTlrwkbwBH7l1q3qjtHSrjTQUXQOXgHSbR2ErdYfhlOsF9VPyxw2INDgLUBO08oO1bbMlpy8KYtN3VmskejKBJzg7m52OOLqUbPMWwPBYVLj/VlHxxHL8oGHElaE3vf7JQqsGPsmQeKg8cNLQkclkoXyzqn0CRYk+VzmDUb4r+/lPIfJHhY4okU1XfiEE/kNS8U3g2yeuVRxqKPIZYvqb4sbtYtojLVIOt02CQ2yjjvkiW2QKcPU9+/XHa6Gf4Rn8mnoq8l31DJDZ5fF9t/9kXSlgkuojd70Ds53diLKKmbBQTFACYtk78VTOeA9DK7Pgc/dBayO/jjGjA0LOVzBffkEo9u1soHPtTgreZadXVk6prAujaexEmTdLIy71/RUNj3XlQcRoYePShtAvwmWSInTwY4lz/H7K7tA4oXIf0Mc6VCoOIsNVntSvUJBeIgJIWgo10Aho6ObOec+bKM2X1ZM5RFOMnTmg/wOOCz0wBmpWftMcWKb4KEp36RgLymBOEloKtcW5wlQ6YM+m65/cjg8XG7rwILqRtMTHtJddvFvbULATryLZqj6L6xTnsY7qKfsHFJJuFBeyzMBUNrrYJdJZs7Se16TAu5VlzIDUGrbNReD45T4ihUlfTbB05AbbPXQmiaxjxhuyog1ebBNFxVzSfEPXBjLE8MK20MdOcxUc9nmZumRCGFzl92nlbhu30lgMDWPsP1kqDVRd99Bc6p5fNAJzjE5YhATX2VDOqLL4a/AyrlTABBrUAL3KjfYH8pXSV2ajg/XXTIY5ppNbOTQgVYB7YmeyKcN381CQpAbxNUMrajjYYZexGRUbCXmQgZUuz9oxLrGumiUFtHrQYDV2seOECAWFu0QLKjdedDaiPyVYfFvAMc4qlm2eBZf1I2aJtdF5XnYkH0Dp9bGgS3ipAuwzy/fW6OEcmoTPW/IsCq6X+Q3AtRH/kN6ys/WbGUTg1SRY6+O2Gt6W3qCnxWQMMU5M/S/UcbyFOGvnTSDRkm6vibofAiM4RPY+Vq9FAqkJfUZQi+cAJTIdkogOUUGGpFXO+8kNUt4FnAMuV69GudnIex6LZV+c4dymeIwBEqmofpPWqTDUNEMgdrtsIlSEHggRifCMemWDJx//6Yqz25omYpyp1FVlqsiutZL0Qx+Gcm/LacWLk/+GYdwAPYQBZp2GV+4D2FcgmW52x8pK9ciLgNJ5RBzHi2q2PKTqCxGn3zQTWkxZhbwOY3uhgzdzJfA/58TIqVZyO4km3k6fl8apvUMMqd0hZ7aZ689cCvxRJP6x781WLTbtgbdiQxidefLgGbDUSBojnkpLOG+kYd2oXLmZSNvDVec3i+tWyDSpKXEMVlSpfToNXW1iHf3w5INGccdaDl81ci8FAHCPJQxF1kC1nDxF3bxp7HiLV2nlGzLzcjSsfdzo+OL3EVRz8HOUCIyaUeqBf0d5b74d1B/II9/gH5Yo0aNdxXdO6bHtQLmPxjm7uD4lb7x5YQ6NtO+dhKvPpsT3vTnGBPOurT/fiiEYIrjmdYHUdjTzokKLiiiMuZq9QpJEwZCe3Wn0GbOPU1kIDMUhDf4wO0PMoC9dzMlNFtaAIqn6VwSaG5Ex5g7vS/WY1tr/ZOA3bQv36JRz3JXSXGSKHn7BTY/qa7r0Sga0O2znX8FYKUgQ9ZgIL/qQZRtLeohVHJ6tXBfepFPQK35dnj1KLX6hokg4WMum+AbYGorWH9p+ACm/XbxlEgxYYAZGS7Uz9a30ZntZDJu7Afmb/YjnUDWYBCx3YL1+6vo+esIj6Fr09tiDtvJTJxNtSsSDbq4Zkoi78iIR2+khTM1QV01p/VDeaeIBWNZT4K+4yBVrQo6Z2vJPqwJSTm59MRdFEv4UecPSa6INndA94eZaUMvVEp3QOxCtUT6XV5vrx6e+di9WsmTWsvA0v5g/jxGt3zSKwPgK3a77KJ8hI2J5eDELSAJz0wyPbnaK7M+gxa07TNYjyzvqzFSYsIJUXrvbu1iBPtLdM3ga0XsYvvhyXobypvqJiS4M3a9PLBudQF3GWBrbJjkVFSmJWSYYOxsw4i/zBfolx0RcgiZOOa4vMJ2wZ1W0rqYVfW6SlVpsLibHY43ELBiyGknqUA3ir6RMQd0pQpuEvGI8LOD7oFngbhg30nfOqM7FtROQL+xEL8LJIZnQhA+GuyoHGkj1KaQxg03rq6kY6P/6WcC4llj5C2q8ONfpYb5lyTuzCI/97Gye21m4G/KEtxIwnF+8PWDJ7O3i62G5DcQGWeQdFuetwemy/wRy8MHPCjmUX4q8z5DI4fjU4FbfgQW6Cx/V9A5rv3uA6GCPjVeunJytiHgFvKypEA8AaVVgW1o7sa+eYfyFd07OLYHPZWPJRoykyLIJNxF/lHHL1yL64/XbqiH8y1RSA+r6SW4O7u0Z42tD6S8afOxFrNUTPDqCTVz5EQyxl2e1aaDs/efMmIu9vEk8adGrFfh83MhdvL/dcqVemGulyYJLuW/JRi0GpZeOU4GusBeyFuc7bc7eCwcnWirb1qa0o07aaaJqcMnYjI6G0+VEWQwvel8Y4MZFzRXYvCVKi60LAg9kME9wmnzoTNhmQKYaJhLE92gxEmbp1Ls+UTAOwkIeVAY1ZEMdwZFg4B5MIEvztsVBE/9RH9EJSIw8OaMQVry/b+7PsqOUxpfdsUG+cM5yZsMoarw7I86c+TdbF6la/cx9OIm/3ZO5J1uHZgFZQNMqR7ffck3WK1wkvZ+IaShvg1E697cMZYmc4kC9eUGaEVmXJWaXfuHrwHtZk1sNmJxc0WxcRk5kJ2OLWoiCvS9BFjpJkmO1E5FVDVjfnzg5Fe/BxHCPI0trbigMy5XsvL4ulbQiv8xlLNB6QqzCsMKV7h0ggzaC02kAQSZ5kUhaAqijvnQM7JbEb5mLdIiqRWGwk/HW73Gw+wysA3J2zH0apGHE0v76mCT322RFTMtujH7Y+/zDrVfi3RY2o/bf+fXY7cwlCIExxIiYXCRq/2Wd2roc+N4wd+iMSqJ3ODxFrc593EuPdKoVIwyCF8AP6MjiS3Tq+5ucfCKf1tsVTar50k8ZyiDoerO4qxeeRBYsoMbQsfJKfZmy/EBIPlwbDVAtDiYujRit/DGBAQGkvKblSKX3lHuoeDUNYnlAXhhS9ZuwsuHFUnvvdanqRZMaPtrZ0duBtHV649XWxXhQG13w8HCwG941qtf9tFoxLK4DmWzaJsi7lNDhNwsdf9P1ggWxEUMpU6nvBpAagnHIUov3DzGgwCzqxRLf+c+9rhT16ur+ToFqjru0baCkEI/bHIwXtv0mWn3Izp3i4JE1w+iPJ015sMxhABcT/li9RD55HMrfNKaXDmitcT//KukNDfdgL8NgwdMLit9WMh5Z/rAZi+okTlgA5I5heeoW5X5xRSqq2IOm89K5HzLPWGKKINC6YGx2dch2s0HA8Szx+d0UJME+3UjrabpOq40WZi2+rZcV31+glaCQbe4oTNKpl+6tIfvTK1thwprTTG8KB5D2SxzBE2QfR1g7ZlB+mqTSmdHO7goCRK3YrKCLNxqJqMeZs60ZtD751DOOqi3k5JY5Rw0OJ7Tc1Uljue6TitU/b1nZ+fufePjpVeyRGQD1ddRU13LmlHh9B7PZFHy/AabYx5St8hkldoKNMD9tCbjo9+DjHm0wAadtrcySlpJixEP+lxdV7i9yuLPkNnPtwfFF7RF+sKFm7jC/0OCqbKjQNNRZplnD13chVULtZoOHTJsY+4upygVoz/aMDo06J+aRXFEW8TyILQqUZToLFnOMdvS65DL3HXx1cvmotXhnefFGy1l9f4hhZ8QFzXBFp6n9b8jxhNOtJO40nA9DXR/O1IlHgjkBPZ0HJhOmEJyGTzXWQv0DUKcj5PGOcL9pUM/rL4O8G44duY2oa90I+N6fXN6xK76rz9t1uQ19lnxu7+nmMvy9TeaRRuszWWRGlVgaEmiZ92CbokIDVCdJVhh+PUc3zFCr7anEi/HTuEVm/XzeNyZgn28HtkDK5+RFgZhYc4G9e2b1+vYEGBW8gRmrWTSgW7Vxh36RPoj8GOR9Z1oyjQxftcmlTvrqvISunXm+W83MbDWuY2VPG6IIea7BFG+tltWB5blbiJBnxQnBfNomUVUD8inpyaj6eHBKwVYTA/g8LaTOG4Zpzt+l5zIsQmCHXD28CTgCfAIEWDQxflZoqzUb1p7Onx0d/wa1xEy0lUIMbp+U4nBYOYFPefgRCg8Eji7ijaqIDc//vY30dittr0zN89M7q79cpIKelAfpQuKgqciTAr7Krn9raUUd8ekQan6sBlw9MJz3t6zI3AcKhJU0g88a+2KCuxpdDu4Z4TQQRNDoJVJ4zpVWgwZ4QIzr506ln5w3gcagTxNzqAUS6QRKWqP1OV3DgUnH8J3kPX2CEGQDLQmtTqFk6PMNz8v+MO+XU1Fw+ioas2TMb6RTl8rMnnrhTnE41KnzXJLL4iLoBLIEuUxYOJmryuVxSK19sp4Q1X7VCLR7MWtDUMFKGOhGU4UPns41vp5U25SHn/vzoCyFJea/h5shXv3ol1JoK/c7DSmGYq1ODrBwE23rZBe6M8Zc9fLC4FZ6Kq08dg8g74fQSeoa7oYNq5iGyItxChyjK1EWfZT2egAmyRgaRTP2ThT6CfFz1mSTRo5ktTCBzebgDGRRkpOlTwQU23Mmsep5rQe6zLt6YH1FifsZ3C45iHhbDqWEgWgu9Q42qrWkhHrmrWDSTP6mkiHUWoIfhLNcVSb1i2ZcoZT/PR8yeDU3LEXc1IBjNdTPDPzkaur90Gvv/XpudBwSqfFXG+xc7oh/1JAZvwU7THg/3kBKwBOoXRK91RIcbX1Lkch2cvjF8iCC21tUribqayNxvOKrV+Io/6f/9PCYhX2LWgNtFe0pJp8MPkA0N7h0U0XMpPp1OhTxFznXHMSmVIyUaqXqKiYw2RhizntPJzs8xIv0w3UhVeV8K0TSi8q5qkTm4JcF7oF+/QX5tHNEmZ/OkcnL67NvuBHjILVtbtq81w1KY2BEBR+6BoyE5i66NCFXopsLMLNtrWgH0Itp+tYNstRnudtL1mVHTDM3E4cFV4JM/qZQukEov6whEi8tKtY3kfbw86wWoRqMlxSbWRty62z9qcypJGfgG/4+slUitRsZPIlgubHsOloSKZGVODFPqbaZPst5C+DjcQRzgdlEWch9LeUoAtNZwoyrtNpjVqhiqppk9srYF7UZYkqWRWwMbsHfyrbeNqcnS+KQRuL1tnuT5B+263gGcZOwG8i1JSgFhNH5/QoHPN5J+n1OP/PL/IVGru9i8TOYInIRjXiZJwCgAnhoF2oQMpdNtLxwlPgsxI4exJZw9KoSjuUvp5waA3ESRYU+qCodH1upuOXwUYFdRNxclHQrRvilvqkFjAXLP1qBapnHmHMOzFAk/H/9jKBqPxPSl6xCJ4cdea41eLx2H6knr32JD6cMpgEaXx1hvm0MPmsCvTVYJp2borHV+8cIRI9JdsHcPjLY1VynjJLUZSza7GR097WHxJDeXy4TFaTQUJ/Xeug0VX06ooSua7TpUoGr7cNBZgFfvzzFAuW5ejL+5VtGPQDxkBpfFPqjdEXM0S11gDMluZ9HmVJzv+ByRXVf3uTA5I3BTzQbq73BuVVH6TJp9mPf6z03D+2S6dOiP+JQB8Br3m7VIqfWpun9TgJRl6VBEZGyTFmvoy3yhS6V3N6G0sgMatLyBc/a4zvjptNLD07zoVtUCTtwcXZzeomKQxNJATd1XGfZ1BJMp/opNq4wLxweWxkNg5rKs5DzlSFKlf6wUFlbYi7uavC9mIlz57Tz1dIEWGf/5G62sUhpmk8lYJ6YO6pcCHc3Y8NUvqbQ8rfSDMUGR3APPJ8TtIXQ4Qg/5zvd2RTumk+JkQzH+pvjiQWljTpoHX9u5p0VSSn1e2MOpuABLsVvtoM3eu+ni/YUTEo9hJY2lOHzLPzDRC8mQSIOtNLDGVSU0PDifGn4ZtDJ0kEze3hijdJ6M7EEIi6h3JnZezZRg1Y8r+/qw4pmelgNi5ENtHSm9VG7YzC2Sj18rUa5a7u8auN2d6t053zlB+L5J4B0zDHM4kZ+EHU9URCQv19xV2Za4nWbTnV639Hrx5XBjR0F0yyDnZwPy7FQhJNiCN2XeKH55hKzcA1z/gkNj19ACSoptZQ+6cWr/gpwFZwnt1nsUQqBSn8LifL3ECCiXpEEg5Cpup1GAV6cAUexyrhVpy2/fS+SoiJ29VpmD9LtlEwNsz7PDIwYEi02jjuXmUXG7/5q9Ydgyds+3g/iL0ywcUu9rt3FMjlUtP8z95WrBUnaWl3XeSnPrPNQrOdVGbVYdKl++lAtfQL3zqVF5yZdkTY2OBbsvDPh5bbLiag1k+FfVZ9rdelkIrYMP86/u7v28KG+NudhbchFhwg3TL0aB7zz0+ASX04hU1eGAqzpJlymqZGZhfUUHcETdLNPHSgQddk4cidVSdqPPU8E+BnFmtW3UFuyaWPK53RRvTOdPFRFWrGUrj8/VnCsoAdPHM93wR0ciSC/ijJCXrAFgkLMy/wgFBBgg+D1fw0mfnDjrR21nFl4jtjAtB5S3798vH0dL5qO5GmXRYYTuKoKoDt7xda/Nm2vdkVmqP6vwNuzS8MT64/R2anqlrSUtTmPddCluh6er+TqtdO0tkEm8cids0ZwWHa7ctfnctUSER/y0GVbrhEeFlrhTrYyC8DQ42UVBsphl1MxrKwn+BfWCPluhTuH+Sf725r/q9hbBN+ARPGh65NCP5NJWZ287g13nswyyKXMe+DvKbOjnGh+jo3Z4oT1dT7Qjer4mzJ15MArfDzU1oglYczeHN24EakpzBLf4LzDdhbr+xY+fIGzdMm1dekJ1cZ2Ex3L+kB3TdubKWdwhBPJOSbThoihrgx0ZdPyF2plwx44RlK5I4WQxO2FLM3YNdUuELiH+DNNUi7uTPSdHryfvqDsEUPXcM19+8zf4FG05EaMncdoFfcMOge3xUxuGCeITKG0T5x4hBt8gpoNYwGuuDXjghlKuSTTpBbXr8llordFjrXwkgZN05wBbkbG7WItUD6ftMnL88f/1Yl4i+BzR9PEeAKBMAFs78ljnQkcA57A3H5o4yUj0O5QRaW6Lz0i5/KnlDrI7Zw7Lpu/oAVfTB4VlDtzjFJ5MN9I5qp4VDHkyAgf/4N/mmBwMO8vHuabWkPLZfhoyujtCAw+JDeagY0FfXXylVrcnwOtrLtDT2nnxSMK2w0yHvIXv65TPwuRe93/mVJHZMKwGzuY+ghI0EB3D00CIobo8BdemeonuCRI71mOaWAoyNIzxxferNLDETnA23X1Cg/Rq0+kG7Xbd7h7j5yftjEnaUqdvePrZp3GHiePqTywP0Se0tGPacStxfz4kbrH5OC9WQuP00QZMVvxZvOVREFJGlkTRNH6sjC4nEbF1lXlGibhRLKV4+g/6peOGxTSyIZUnzQ5BxN1Sd1JDz1kRbEE7jSXCEB/Xh+t5FKZ16qACtdzpbqlBGiYVGVEa9PxMIX5mmosNBAvDJMdYL+3VHaIcMVYV/ihW0xsaHQtGuEKuPCwu73AIFyspEYLXnn0gVliRD1LX2C4NtZiUpOwZhhNmoJWyZ7H5C0UY2EnLVsK5oqZD5YiyC2ESQcHm/rMVKZjOXCycp12Svq2k/gFY5XFoJJX+jqcwOGcGZ1JyMhL7DgxTeK41IGUPtWzOgoobojm/fo1IWWMw7cxTZvcqe5xuXtNi/gYFjWa7RDp+0xIOtYzEmK8dejbqi0ZpveeHhsyKZ3vyqfyGcIcU/IkMmiv4uFW7vVpIeg8sR31l7SrIBlHhwuFoyi7eCuCFnIew1MIQN7TQt6YxLWGSRPvL8FYBogVrRRwSlhoUe7vA="/>
  <p:tag name="MEKKOXMLTAGS" val="1"/>
</p:tagLst>
</file>

<file path=ppt/theme/theme1.xml><?xml version="1.0" encoding="utf-8"?>
<a:theme xmlns:a="http://schemas.openxmlformats.org/drawingml/2006/main" name="MBTA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90A07501D38644B7199D370286644D" ma:contentTypeVersion="2" ma:contentTypeDescription="Create a new document." ma:contentTypeScope="" ma:versionID="db8831d4bb18ef0e454cd893b9653a9f">
  <xsd:schema xmlns:xsd="http://www.w3.org/2001/XMLSchema" xmlns:xs="http://www.w3.org/2001/XMLSchema" xmlns:p="http://schemas.microsoft.com/office/2006/metadata/properties" xmlns:ns2="b4eccf1b-939f-49bc-8c20-b1e62e326593" targetNamespace="http://schemas.microsoft.com/office/2006/metadata/properties" ma:root="true" ma:fieldsID="7b7d321439371854ac55917326e1fc55" ns2:_="">
    <xsd:import namespace="b4eccf1b-939f-49bc-8c20-b1e62e3265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eccf1b-939f-49bc-8c20-b1e62e3265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671E00-7877-4B64-9735-F8552561662D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b4eccf1b-939f-49bc-8c20-b1e62e326593"/>
    <ds:schemaRef ds:uri="http://purl.org/dc/elements/1.1/"/>
    <ds:schemaRef ds:uri="http://schemas.microsoft.com/office/infopath/2007/PartnerControls"/>
    <ds:schemaRef ds:uri="http://purl.org/dc/terms/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58BD27AA-7037-4665-A646-3A85FCEBB34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eccf1b-939f-49bc-8c20-b1e62e3265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5D5E19-053F-4623-8757-3320623AAB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Template</Template>
  <TotalTime>105216</TotalTime>
  <Words>532</Words>
  <Application>Microsoft Macintosh PowerPoint</Application>
  <PresentationFormat>On-screen Show (4:3)</PresentationFormat>
  <Paragraphs>69</Paragraphs>
  <Slides>7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7</vt:i4>
      </vt:variant>
    </vt:vector>
  </HeadingPairs>
  <TitlesOfParts>
    <vt:vector size="16" baseType="lpstr">
      <vt:lpstr>Arial</vt:lpstr>
      <vt:lpstr>Wingdings</vt:lpstr>
      <vt:lpstr>Verdana</vt:lpstr>
      <vt:lpstr>Roboto</vt:lpstr>
      <vt:lpstr>Roboto Light</vt:lpstr>
      <vt:lpstr>Arial Black</vt:lpstr>
      <vt:lpstr>Calibri</vt:lpstr>
      <vt:lpstr>MBTATemplate</vt:lpstr>
      <vt:lpstr>1_MBTATemplate</vt:lpstr>
      <vt:lpstr>The RIDE Update</vt:lpstr>
      <vt:lpstr>Summary</vt:lpstr>
      <vt:lpstr>RIDE PERFORMANCE  Service has continued to remain strong through the transition period</vt:lpstr>
      <vt:lpstr>PowerPoint Presentation</vt:lpstr>
      <vt:lpstr>ON-DEMAND PARATRANSIT PILOT UPDATE Pilot growth has continued and a customer feedback survey was launched</vt:lpstr>
      <vt:lpstr>ON-DEMAND PARATRANSIT PILOT UPDATE Current pilot will be extended to incorporate feedback and launch Pilot 2.0</vt:lpstr>
      <vt:lpstr>PowerPoint Presentation</vt:lpstr>
    </vt:vector>
  </TitlesOfParts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easley</dc:creator>
  <cp:lastModifiedBy>Siddiqui, Aayesha</cp:lastModifiedBy>
  <cp:revision>2749</cp:revision>
  <cp:lastPrinted>2018-05-30T14:57:01Z</cp:lastPrinted>
  <dcterms:created xsi:type="dcterms:W3CDTF">2016-05-13T14:52:40Z</dcterms:created>
  <dcterms:modified xsi:type="dcterms:W3CDTF">2018-06-04T20:19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90A07501D38644B7199D370286644D</vt:lpwstr>
  </property>
</Properties>
</file>